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2" r:id="rId1"/>
  </p:sldMasterIdLst>
  <p:notesMasterIdLst>
    <p:notesMasterId r:id="rId27"/>
  </p:notesMasterIdLst>
  <p:sldIdLst>
    <p:sldId id="289" r:id="rId2"/>
    <p:sldId id="275" r:id="rId3"/>
    <p:sldId id="290" r:id="rId4"/>
    <p:sldId id="292" r:id="rId5"/>
    <p:sldId id="260" r:id="rId6"/>
    <p:sldId id="268" r:id="rId7"/>
    <p:sldId id="284" r:id="rId8"/>
    <p:sldId id="294" r:id="rId9"/>
    <p:sldId id="295" r:id="rId10"/>
    <p:sldId id="296" r:id="rId11"/>
    <p:sldId id="301" r:id="rId12"/>
    <p:sldId id="269" r:id="rId13"/>
    <p:sldId id="270" r:id="rId14"/>
    <p:sldId id="271" r:id="rId15"/>
    <p:sldId id="272" r:id="rId16"/>
    <p:sldId id="273" r:id="rId17"/>
    <p:sldId id="274" r:id="rId18"/>
    <p:sldId id="298" r:id="rId19"/>
    <p:sldId id="276" r:id="rId20"/>
    <p:sldId id="297" r:id="rId21"/>
    <p:sldId id="299" r:id="rId22"/>
    <p:sldId id="302" r:id="rId23"/>
    <p:sldId id="300" r:id="rId24"/>
    <p:sldId id="278" r:id="rId25"/>
    <p:sldId id="263" r:id="rId2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418A96B-A939-4BF1-9B61-470365987DAD}">
          <p14:sldIdLst>
            <p14:sldId id="289"/>
            <p14:sldId id="275"/>
            <p14:sldId id="290"/>
            <p14:sldId id="292"/>
            <p14:sldId id="260"/>
            <p14:sldId id="268"/>
            <p14:sldId id="284"/>
            <p14:sldId id="294"/>
            <p14:sldId id="295"/>
            <p14:sldId id="296"/>
            <p14:sldId id="301"/>
            <p14:sldId id="269"/>
            <p14:sldId id="270"/>
            <p14:sldId id="271"/>
            <p14:sldId id="272"/>
            <p14:sldId id="273"/>
            <p14:sldId id="274"/>
            <p14:sldId id="298"/>
            <p14:sldId id="276"/>
            <p14:sldId id="297"/>
            <p14:sldId id="299"/>
            <p14:sldId id="302"/>
            <p14:sldId id="300"/>
            <p14:sldId id="278"/>
            <p14:sldId id="26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0002"/>
    <a:srgbClr val="A4C0E3"/>
    <a:srgbClr val="FEB8C4"/>
    <a:srgbClr val="CA000A"/>
    <a:srgbClr val="EAEFF7"/>
    <a:srgbClr val="CD0A1A"/>
    <a:srgbClr val="F6505C"/>
    <a:srgbClr val="8D9197"/>
    <a:srgbClr val="CB000E"/>
    <a:srgbClr val="DA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0187" autoAdjust="0"/>
  </p:normalViewPr>
  <p:slideViewPr>
    <p:cSldViewPr snapToGrid="0">
      <p:cViewPr varScale="1">
        <p:scale>
          <a:sx n="120" d="100"/>
          <a:sy n="120" d="100"/>
        </p:scale>
        <p:origin x="17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88F1D8-F821-4812-9252-39523EC62165}" type="doc">
      <dgm:prSet loTypeId="urn:microsoft.com/office/officeart/2005/8/layout/radial4" loCatId="relationship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de-DE"/>
        </a:p>
      </dgm:t>
    </dgm:pt>
    <dgm:pt modelId="{E43CEA86-FC07-43CC-ABB4-3099F05021BB}">
      <dgm:prSet phldrT="[Text]" custT="1"/>
      <dgm:spPr>
        <a:solidFill>
          <a:srgbClr val="E60002"/>
        </a:solidFill>
      </dgm:spPr>
      <dgm:t>
        <a:bodyPr/>
        <a:lstStyle/>
        <a:p>
          <a:r>
            <a:rPr lang="de-DE" sz="1600" dirty="0">
              <a:latin typeface="+mn-lt"/>
            </a:rPr>
            <a:t>Oberstufe der Gesamtschule Eiserfeld</a:t>
          </a:r>
        </a:p>
      </dgm:t>
    </dgm:pt>
    <dgm:pt modelId="{80580127-3F04-4B06-AD41-79122C58D198}" type="parTrans" cxnId="{5F8C91B5-2266-4120-BD28-C69F76A21F56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FE73A2FD-45E2-4EA2-8E2A-7A88AD5189ED}" type="sibTrans" cxnId="{5F8C91B5-2266-4120-BD28-C69F76A21F56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B951DCDB-AED8-4D73-8D5E-8410D0EBA0AA}">
      <dgm:prSet phldrT="[Text]" custT="1"/>
      <dgm:spPr>
        <a:solidFill>
          <a:srgbClr val="A4C0E3"/>
        </a:solidFill>
      </dgm:spPr>
      <dgm:t>
        <a:bodyPr spcFirstLastPara="0" vert="horz" wrap="square" lIns="43815" tIns="43815" rIns="43815" bIns="43815" numCol="1" spcCol="1270" anchor="ctr" anchorCtr="0"/>
        <a:lstStyle/>
        <a:p>
          <a:pPr marL="0"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>
              <a:solidFill>
                <a:schemeClr val="tx1"/>
              </a:solidFill>
              <a:latin typeface="Arial"/>
              <a:ea typeface="+mn-ea"/>
              <a:cs typeface="+mn-cs"/>
            </a:rPr>
            <a:t>Oberstufe </a:t>
          </a:r>
          <a:br>
            <a:rPr lang="de-DE" sz="1600" kern="1200">
              <a:solidFill>
                <a:schemeClr val="tx1"/>
              </a:solidFill>
              <a:latin typeface="Arial"/>
              <a:ea typeface="+mn-ea"/>
              <a:cs typeface="+mn-cs"/>
            </a:rPr>
          </a:br>
          <a:r>
            <a:rPr lang="de-DE" sz="1600" kern="1200">
              <a:solidFill>
                <a:schemeClr val="tx1"/>
              </a:solidFill>
              <a:latin typeface="Arial"/>
              <a:ea typeface="+mn-ea"/>
              <a:cs typeface="+mn-cs"/>
            </a:rPr>
            <a:t>seit 1995</a:t>
          </a:r>
          <a:endParaRPr lang="de-DE" sz="1600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gm:t>
    </dgm:pt>
    <dgm:pt modelId="{FEE9E9AE-50C8-4A38-8C9B-2DE773F4FD49}" type="parTrans" cxnId="{C0F4555B-4F2C-4E50-9633-9C05E59288B8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9E943CB0-9CA4-4772-A473-BB71EDC44F04}" type="sibTrans" cxnId="{C0F4555B-4F2C-4E50-9633-9C05E59288B8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9F09590F-68B1-4D79-959C-743FF51380CD}">
      <dgm:prSet phldrT="[Text]" custT="1"/>
      <dgm:spPr>
        <a:solidFill>
          <a:srgbClr val="A4C0E3"/>
        </a:solidFill>
      </dgm:spPr>
      <dgm:t>
        <a:bodyPr/>
        <a:lstStyle/>
        <a:p>
          <a:r>
            <a:rPr lang="de-DE" sz="1600" dirty="0">
              <a:solidFill>
                <a:schemeClr val="tx1"/>
              </a:solidFill>
              <a:latin typeface="+mn-lt"/>
            </a:rPr>
            <a:t>Größte Oberstufe unter den städt. Schulen der Stadt Siegen</a:t>
          </a:r>
        </a:p>
      </dgm:t>
    </dgm:pt>
    <dgm:pt modelId="{8DCB3D29-F23D-491D-9CF7-AC03A937A20B}" type="parTrans" cxnId="{8E575FE5-FD7E-47EF-B477-0CD0F7D63AF0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07255DC4-C4B9-4CCE-BA04-7A547321CA33}" type="sibTrans" cxnId="{8E575FE5-FD7E-47EF-B477-0CD0F7D63AF0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B93244AD-C09E-4DFA-8BA1-D7EB87953039}">
      <dgm:prSet phldrT="[Text]" custT="1"/>
      <dgm:spPr>
        <a:solidFill>
          <a:srgbClr val="A4C0E3"/>
        </a:solidFill>
      </dgm:spPr>
      <dgm:t>
        <a:bodyPr/>
        <a:lstStyle/>
        <a:p>
          <a:r>
            <a:rPr lang="de-DE" sz="1600" dirty="0">
              <a:solidFill>
                <a:schemeClr val="tx1"/>
              </a:solidFill>
              <a:latin typeface="+mn-lt"/>
            </a:rPr>
            <a:t>Großes und vielfältiges Leistungskurs-angebot</a:t>
          </a:r>
        </a:p>
      </dgm:t>
    </dgm:pt>
    <dgm:pt modelId="{D1D1466C-42D4-4CE3-9FAC-91EE5647C289}" type="parTrans" cxnId="{EC08676C-60A9-4028-AD5D-C844DECDC1B1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05BB048B-2C8C-47E6-B9BE-78287C5E7D2A}" type="sibTrans" cxnId="{EC08676C-60A9-4028-AD5D-C844DECDC1B1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3A5D57A0-BA2C-472E-89FC-9623E4EE7FE0}">
      <dgm:prSet phldrT="[Text]" custT="1"/>
      <dgm:spPr>
        <a:solidFill>
          <a:srgbClr val="A4C0E3"/>
        </a:solidFill>
      </dgm:spPr>
      <dgm:t>
        <a:bodyPr/>
        <a:lstStyle/>
        <a:p>
          <a:r>
            <a:rPr lang="de-DE" sz="1600" dirty="0">
              <a:solidFill>
                <a:schemeClr val="tx1"/>
              </a:solidFill>
              <a:latin typeface="+mn-lt"/>
            </a:rPr>
            <a:t>Nur wenige Seiteneinsteiger müssen abgelehnt werden</a:t>
          </a:r>
        </a:p>
      </dgm:t>
    </dgm:pt>
    <dgm:pt modelId="{24D75CB8-B932-49DF-9449-C343E499A38C}" type="parTrans" cxnId="{81AD7E84-D01F-4112-A887-65FF6B16C0AF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2D2EDBE8-CA9E-4AFA-9856-4EB695302544}" type="sibTrans" cxnId="{81AD7E84-D01F-4112-A887-65FF6B16C0AF}">
      <dgm:prSet/>
      <dgm:spPr/>
      <dgm:t>
        <a:bodyPr/>
        <a:lstStyle/>
        <a:p>
          <a:endParaRPr lang="de-DE" sz="1200">
            <a:latin typeface="+mn-lt"/>
          </a:endParaRPr>
        </a:p>
      </dgm:t>
    </dgm:pt>
    <dgm:pt modelId="{58283CEF-EB3A-4A3D-9854-08898AEDCC28}" type="pres">
      <dgm:prSet presAssocID="{1688F1D8-F821-4812-9252-39523EC62165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BD11160F-C91A-4F28-8D70-955FD23B32BF}" type="pres">
      <dgm:prSet presAssocID="{E43CEA86-FC07-43CC-ABB4-3099F05021BB}" presName="centerShape" presStyleLbl="node0" presStyleIdx="0" presStyleCnt="1"/>
      <dgm:spPr/>
    </dgm:pt>
    <dgm:pt modelId="{80830EB2-FD98-4CC0-87BC-CA2DF75F1B55}" type="pres">
      <dgm:prSet presAssocID="{FEE9E9AE-50C8-4A38-8C9B-2DE773F4FD49}" presName="parTrans" presStyleLbl="bgSibTrans2D1" presStyleIdx="0" presStyleCnt="4"/>
      <dgm:spPr/>
    </dgm:pt>
    <dgm:pt modelId="{5EDA157A-457B-449C-AC8C-591E70CF3FA4}" type="pres">
      <dgm:prSet presAssocID="{B951DCDB-AED8-4D73-8D5E-8410D0EBA0AA}" presName="node" presStyleLbl="node1" presStyleIdx="0" presStyleCnt="4">
        <dgm:presLayoutVars>
          <dgm:bulletEnabled val="1"/>
        </dgm:presLayoutVars>
      </dgm:prSet>
      <dgm:spPr>
        <a:xfrm>
          <a:off x="719370" y="2443805"/>
          <a:ext cx="2785855" cy="2228684"/>
        </a:xfrm>
        <a:prstGeom prst="roundRect">
          <a:avLst>
            <a:gd name="adj" fmla="val 10000"/>
          </a:avLst>
        </a:prstGeom>
      </dgm:spPr>
    </dgm:pt>
    <dgm:pt modelId="{F806C0AC-F36F-4190-B867-0053219FB0E4}" type="pres">
      <dgm:prSet presAssocID="{8DCB3D29-F23D-491D-9CF7-AC03A937A20B}" presName="parTrans" presStyleLbl="bgSibTrans2D1" presStyleIdx="1" presStyleCnt="4"/>
      <dgm:spPr/>
    </dgm:pt>
    <dgm:pt modelId="{4AFE76CF-03D1-4028-AD78-48B752A2D260}" type="pres">
      <dgm:prSet presAssocID="{9F09590F-68B1-4D79-959C-743FF51380CD}" presName="node" presStyleLbl="node1" presStyleIdx="1" presStyleCnt="4">
        <dgm:presLayoutVars>
          <dgm:bulletEnabled val="1"/>
        </dgm:presLayoutVars>
      </dgm:prSet>
      <dgm:spPr/>
    </dgm:pt>
    <dgm:pt modelId="{52B989BE-CB84-4431-984C-32DEDACB056E}" type="pres">
      <dgm:prSet presAssocID="{D1D1466C-42D4-4CE3-9FAC-91EE5647C289}" presName="parTrans" presStyleLbl="bgSibTrans2D1" presStyleIdx="2" presStyleCnt="4"/>
      <dgm:spPr/>
    </dgm:pt>
    <dgm:pt modelId="{F4AD4AE1-4103-4A3F-9728-D94E47B3AC08}" type="pres">
      <dgm:prSet presAssocID="{B93244AD-C09E-4DFA-8BA1-D7EB87953039}" presName="node" presStyleLbl="node1" presStyleIdx="2" presStyleCnt="4">
        <dgm:presLayoutVars>
          <dgm:bulletEnabled val="1"/>
        </dgm:presLayoutVars>
      </dgm:prSet>
      <dgm:spPr/>
    </dgm:pt>
    <dgm:pt modelId="{DBFE8C11-50CC-4D22-94AC-34B5A4CF2018}" type="pres">
      <dgm:prSet presAssocID="{24D75CB8-B932-49DF-9449-C343E499A38C}" presName="parTrans" presStyleLbl="bgSibTrans2D1" presStyleIdx="3" presStyleCnt="4"/>
      <dgm:spPr/>
    </dgm:pt>
    <dgm:pt modelId="{08A78187-0F82-44C0-B70D-DFF4DAD2A225}" type="pres">
      <dgm:prSet presAssocID="{3A5D57A0-BA2C-472E-89FC-9623E4EE7FE0}" presName="node" presStyleLbl="node1" presStyleIdx="3" presStyleCnt="4">
        <dgm:presLayoutVars>
          <dgm:bulletEnabled val="1"/>
        </dgm:presLayoutVars>
      </dgm:prSet>
      <dgm:spPr/>
    </dgm:pt>
  </dgm:ptLst>
  <dgm:cxnLst>
    <dgm:cxn modelId="{971EDB36-BD3C-4B8A-A692-30B7653B2629}" type="presOf" srcId="{8DCB3D29-F23D-491D-9CF7-AC03A937A20B}" destId="{F806C0AC-F36F-4190-B867-0053219FB0E4}" srcOrd="0" destOrd="0" presId="urn:microsoft.com/office/officeart/2005/8/layout/radial4"/>
    <dgm:cxn modelId="{C0F4555B-4F2C-4E50-9633-9C05E59288B8}" srcId="{E43CEA86-FC07-43CC-ABB4-3099F05021BB}" destId="{B951DCDB-AED8-4D73-8D5E-8410D0EBA0AA}" srcOrd="0" destOrd="0" parTransId="{FEE9E9AE-50C8-4A38-8C9B-2DE773F4FD49}" sibTransId="{9E943CB0-9CA4-4772-A473-BB71EDC44F04}"/>
    <dgm:cxn modelId="{248AAF4B-E462-41ED-89B4-54119009D459}" type="presOf" srcId="{3A5D57A0-BA2C-472E-89FC-9623E4EE7FE0}" destId="{08A78187-0F82-44C0-B70D-DFF4DAD2A225}" srcOrd="0" destOrd="0" presId="urn:microsoft.com/office/officeart/2005/8/layout/radial4"/>
    <dgm:cxn modelId="{EC08676C-60A9-4028-AD5D-C844DECDC1B1}" srcId="{E43CEA86-FC07-43CC-ABB4-3099F05021BB}" destId="{B93244AD-C09E-4DFA-8BA1-D7EB87953039}" srcOrd="2" destOrd="0" parTransId="{D1D1466C-42D4-4CE3-9FAC-91EE5647C289}" sibTransId="{05BB048B-2C8C-47E6-B9BE-78287C5E7D2A}"/>
    <dgm:cxn modelId="{D23E8A70-72EA-423B-B54B-1C3CB20EF566}" type="presOf" srcId="{FEE9E9AE-50C8-4A38-8C9B-2DE773F4FD49}" destId="{80830EB2-FD98-4CC0-87BC-CA2DF75F1B55}" srcOrd="0" destOrd="0" presId="urn:microsoft.com/office/officeart/2005/8/layout/radial4"/>
    <dgm:cxn modelId="{3E85BA81-2897-449D-AE45-9A0719680DBE}" type="presOf" srcId="{1688F1D8-F821-4812-9252-39523EC62165}" destId="{58283CEF-EB3A-4A3D-9854-08898AEDCC28}" srcOrd="0" destOrd="0" presId="urn:microsoft.com/office/officeart/2005/8/layout/radial4"/>
    <dgm:cxn modelId="{E54D3882-516C-4C76-8F91-8A5E46330BCA}" type="presOf" srcId="{D1D1466C-42D4-4CE3-9FAC-91EE5647C289}" destId="{52B989BE-CB84-4431-984C-32DEDACB056E}" srcOrd="0" destOrd="0" presId="urn:microsoft.com/office/officeart/2005/8/layout/radial4"/>
    <dgm:cxn modelId="{81AD7E84-D01F-4112-A887-65FF6B16C0AF}" srcId="{E43CEA86-FC07-43CC-ABB4-3099F05021BB}" destId="{3A5D57A0-BA2C-472E-89FC-9623E4EE7FE0}" srcOrd="3" destOrd="0" parTransId="{24D75CB8-B932-49DF-9449-C343E499A38C}" sibTransId="{2D2EDBE8-CA9E-4AFA-9856-4EB695302544}"/>
    <dgm:cxn modelId="{F9B78C85-5F85-4685-B412-6C660D3D2E99}" type="presOf" srcId="{E43CEA86-FC07-43CC-ABB4-3099F05021BB}" destId="{BD11160F-C91A-4F28-8D70-955FD23B32BF}" srcOrd="0" destOrd="0" presId="urn:microsoft.com/office/officeart/2005/8/layout/radial4"/>
    <dgm:cxn modelId="{5F8C91B5-2266-4120-BD28-C69F76A21F56}" srcId="{1688F1D8-F821-4812-9252-39523EC62165}" destId="{E43CEA86-FC07-43CC-ABB4-3099F05021BB}" srcOrd="0" destOrd="0" parTransId="{80580127-3F04-4B06-AD41-79122C58D198}" sibTransId="{FE73A2FD-45E2-4EA2-8E2A-7A88AD5189ED}"/>
    <dgm:cxn modelId="{C67AD9C1-16A8-4814-BEA7-084394BF919B}" type="presOf" srcId="{B93244AD-C09E-4DFA-8BA1-D7EB87953039}" destId="{F4AD4AE1-4103-4A3F-9728-D94E47B3AC08}" srcOrd="0" destOrd="0" presId="urn:microsoft.com/office/officeart/2005/8/layout/radial4"/>
    <dgm:cxn modelId="{859E59D3-12CA-4CD2-A6F5-EE3AE28436FB}" type="presOf" srcId="{24D75CB8-B932-49DF-9449-C343E499A38C}" destId="{DBFE8C11-50CC-4D22-94AC-34B5A4CF2018}" srcOrd="0" destOrd="0" presId="urn:microsoft.com/office/officeart/2005/8/layout/radial4"/>
    <dgm:cxn modelId="{8E575FE5-FD7E-47EF-B477-0CD0F7D63AF0}" srcId="{E43CEA86-FC07-43CC-ABB4-3099F05021BB}" destId="{9F09590F-68B1-4D79-959C-743FF51380CD}" srcOrd="1" destOrd="0" parTransId="{8DCB3D29-F23D-491D-9CF7-AC03A937A20B}" sibTransId="{07255DC4-C4B9-4CCE-BA04-7A547321CA33}"/>
    <dgm:cxn modelId="{9AC393E5-AF9A-449D-8B37-C67329EFDA1F}" type="presOf" srcId="{B951DCDB-AED8-4D73-8D5E-8410D0EBA0AA}" destId="{5EDA157A-457B-449C-AC8C-591E70CF3FA4}" srcOrd="0" destOrd="0" presId="urn:microsoft.com/office/officeart/2005/8/layout/radial4"/>
    <dgm:cxn modelId="{A706B7F4-205E-45D0-9977-7C2C4B7F6AE7}" type="presOf" srcId="{9F09590F-68B1-4D79-959C-743FF51380CD}" destId="{4AFE76CF-03D1-4028-AD78-48B752A2D260}" srcOrd="0" destOrd="0" presId="urn:microsoft.com/office/officeart/2005/8/layout/radial4"/>
    <dgm:cxn modelId="{C97325E6-6A50-4603-B334-F0D2A70FDC62}" type="presParOf" srcId="{58283CEF-EB3A-4A3D-9854-08898AEDCC28}" destId="{BD11160F-C91A-4F28-8D70-955FD23B32BF}" srcOrd="0" destOrd="0" presId="urn:microsoft.com/office/officeart/2005/8/layout/radial4"/>
    <dgm:cxn modelId="{7762069D-FFF4-4B34-99EA-22F559384680}" type="presParOf" srcId="{58283CEF-EB3A-4A3D-9854-08898AEDCC28}" destId="{80830EB2-FD98-4CC0-87BC-CA2DF75F1B55}" srcOrd="1" destOrd="0" presId="urn:microsoft.com/office/officeart/2005/8/layout/radial4"/>
    <dgm:cxn modelId="{2BA3890D-1000-4228-81C0-8DE3170C547F}" type="presParOf" srcId="{58283CEF-EB3A-4A3D-9854-08898AEDCC28}" destId="{5EDA157A-457B-449C-AC8C-591E70CF3FA4}" srcOrd="2" destOrd="0" presId="urn:microsoft.com/office/officeart/2005/8/layout/radial4"/>
    <dgm:cxn modelId="{54AA10B7-290D-4F0A-B36D-08E1EB3C9536}" type="presParOf" srcId="{58283CEF-EB3A-4A3D-9854-08898AEDCC28}" destId="{F806C0AC-F36F-4190-B867-0053219FB0E4}" srcOrd="3" destOrd="0" presId="urn:microsoft.com/office/officeart/2005/8/layout/radial4"/>
    <dgm:cxn modelId="{78B2D567-84CF-41B1-B68B-D439575A778A}" type="presParOf" srcId="{58283CEF-EB3A-4A3D-9854-08898AEDCC28}" destId="{4AFE76CF-03D1-4028-AD78-48B752A2D260}" srcOrd="4" destOrd="0" presId="urn:microsoft.com/office/officeart/2005/8/layout/radial4"/>
    <dgm:cxn modelId="{0D965B67-DE1D-4936-9CA3-B7F2BCB21C13}" type="presParOf" srcId="{58283CEF-EB3A-4A3D-9854-08898AEDCC28}" destId="{52B989BE-CB84-4431-984C-32DEDACB056E}" srcOrd="5" destOrd="0" presId="urn:microsoft.com/office/officeart/2005/8/layout/radial4"/>
    <dgm:cxn modelId="{48FE526D-EC8D-4896-AD3A-52960665865C}" type="presParOf" srcId="{58283CEF-EB3A-4A3D-9854-08898AEDCC28}" destId="{F4AD4AE1-4103-4A3F-9728-D94E47B3AC08}" srcOrd="6" destOrd="0" presId="urn:microsoft.com/office/officeart/2005/8/layout/radial4"/>
    <dgm:cxn modelId="{D3E0CC98-BF72-4371-A98D-A5227F39D9C7}" type="presParOf" srcId="{58283CEF-EB3A-4A3D-9854-08898AEDCC28}" destId="{DBFE8C11-50CC-4D22-94AC-34B5A4CF2018}" srcOrd="7" destOrd="0" presId="urn:microsoft.com/office/officeart/2005/8/layout/radial4"/>
    <dgm:cxn modelId="{62F5C887-AAB4-4371-A42A-7FF7DCC3BAA4}" type="presParOf" srcId="{58283CEF-EB3A-4A3D-9854-08898AEDCC28}" destId="{08A78187-0F82-44C0-B70D-DFF4DAD2A225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B34E464-44CD-4F4D-8C1B-0A6985453D41}" type="doc">
      <dgm:prSet loTypeId="urn:microsoft.com/office/officeart/2005/8/layout/vList4" loCatId="list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de-DE"/>
        </a:p>
      </dgm:t>
    </dgm:pt>
    <dgm:pt modelId="{6CEE2B26-7A14-4B21-9E86-665F66FFCA2F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Fachhochschulreife</a:t>
          </a:r>
        </a:p>
      </dgm:t>
    </dgm:pt>
    <dgm:pt modelId="{A0336C2E-9487-4C94-9D64-D01FC59984D5}" type="parTrans" cxnId="{B9F52365-7FEB-47EC-B2A7-6E775BB896AE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B000556E-7BA3-4CCE-B4C2-92367A6ABB63}" type="sibTrans" cxnId="{B9F52365-7FEB-47EC-B2A7-6E775BB896AE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85BDD79B-AAC2-45AA-BCB9-C2DC25489D5F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Studium an einer Fachhochschule</a:t>
          </a:r>
        </a:p>
      </dgm:t>
    </dgm:pt>
    <dgm:pt modelId="{49D070AC-0183-4142-B310-72BB11699B4D}" type="parTrans" cxnId="{61FE6F03-C771-4594-809E-847B76359192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B97E961B-D9C5-4494-B3AE-E3C8108A786E}" type="sibTrans" cxnId="{61FE6F03-C771-4594-809E-847B76359192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1D17B07B-65B5-4FA3-A063-7D1E6ACD0C9F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Ausbildung</a:t>
          </a:r>
        </a:p>
      </dgm:t>
    </dgm:pt>
    <dgm:pt modelId="{26DB97F6-5382-48EB-95BD-750258917D63}" type="parTrans" cxnId="{7AB2F21B-6F54-479F-BDF0-2545ADE937D6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23594380-F5F2-4D36-A207-91142ED72496}" type="sibTrans" cxnId="{7AB2F21B-6F54-479F-BDF0-2545ADE937D6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330254BB-6EE3-4B14-82BE-B5F1D77F40D2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Abitur</a:t>
          </a:r>
        </a:p>
      </dgm:t>
    </dgm:pt>
    <dgm:pt modelId="{11A5F9F1-927E-4BA7-868F-FA8CA2101E12}" type="parTrans" cxnId="{F9AB5A8E-B692-42FE-9CD6-73D0E38C56BB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FCA30740-A5FB-4E51-8DFC-8EB9D03A3874}" type="sibTrans" cxnId="{F9AB5A8E-B692-42FE-9CD6-73D0E38C56BB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E97D16AE-90B8-4769-A161-CD80E9560003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Studium an einer Universität oder Fachhochschule</a:t>
          </a:r>
        </a:p>
      </dgm:t>
    </dgm:pt>
    <dgm:pt modelId="{A602925B-4802-4622-B3B2-44E5D6676A76}" type="parTrans" cxnId="{A545AD27-4862-4F20-97F0-D68F0A348484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1A448A7C-DECF-4725-B8E2-2830E39348ED}" type="sibTrans" cxnId="{A545AD27-4862-4F20-97F0-D68F0A348484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5848F3AE-EA28-4223-AA06-7776558DB572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Duales Studium</a:t>
          </a:r>
        </a:p>
      </dgm:t>
    </dgm:pt>
    <dgm:pt modelId="{33689107-6059-4FAE-97D5-4D8EB15A2DB0}" type="parTrans" cxnId="{ADE4E534-388B-4002-98BD-2D3DDB7919BD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275047C6-3B09-4001-860A-B8367DA0FC11}" type="sibTrans" cxnId="{ADE4E534-388B-4002-98BD-2D3DDB7919BD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2A8A868F-4CDF-4B2E-8667-83E88534909F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Ausbildung</a:t>
          </a:r>
        </a:p>
      </dgm:t>
    </dgm:pt>
    <dgm:pt modelId="{23B74A0E-4741-4B94-BD8D-8B25FCB5861F}" type="parTrans" cxnId="{AB2B07D5-D189-43FF-A38A-70CD1D823E43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3FAE7DD2-E42F-45D5-A03F-F57DFDC4F63C}" type="sibTrans" cxnId="{AB2B07D5-D189-43FF-A38A-70CD1D823E43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C6A92639-EF64-4530-8BD5-C2B864B76AEB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Duales Studium</a:t>
          </a:r>
        </a:p>
      </dgm:t>
    </dgm:pt>
    <dgm:pt modelId="{751A94FB-A727-450A-B479-994499585ECE}" type="parTrans" cxnId="{AA4DEB46-B311-4592-9360-6228BDB10A24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5DF20CF6-77CF-4378-8ACC-6FDDB9471624}" type="sibTrans" cxnId="{AA4DEB46-B311-4592-9360-6228BDB10A24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13D42B2C-863E-40CF-BC79-67DAC9C3CF8F}" type="pres">
      <dgm:prSet presAssocID="{EB34E464-44CD-4F4D-8C1B-0A6985453D41}" presName="linear" presStyleCnt="0">
        <dgm:presLayoutVars>
          <dgm:dir/>
          <dgm:resizeHandles val="exact"/>
        </dgm:presLayoutVars>
      </dgm:prSet>
      <dgm:spPr/>
    </dgm:pt>
    <dgm:pt modelId="{31297554-9616-4E73-831C-C47CB2BBC6A2}" type="pres">
      <dgm:prSet presAssocID="{6CEE2B26-7A14-4B21-9E86-665F66FFCA2F}" presName="comp" presStyleCnt="0"/>
      <dgm:spPr/>
    </dgm:pt>
    <dgm:pt modelId="{B5051A49-0081-435B-8156-2CC648E55D90}" type="pres">
      <dgm:prSet presAssocID="{6CEE2B26-7A14-4B21-9E86-665F66FFCA2F}" presName="box" presStyleLbl="node1" presStyleIdx="0" presStyleCnt="2"/>
      <dgm:spPr/>
    </dgm:pt>
    <dgm:pt modelId="{67979784-9673-4355-8AE4-492388B0B08A}" type="pres">
      <dgm:prSet presAssocID="{6CEE2B26-7A14-4B21-9E86-665F66FFCA2F}" presName="img" presStyleLbl="fgImgPlace1" presStyleIdx="0" presStyleCnt="2"/>
      <dgm:spPr>
        <a:solidFill>
          <a:srgbClr val="EAEFF7"/>
        </a:solidFill>
      </dgm:spPr>
    </dgm:pt>
    <dgm:pt modelId="{5A87D29A-6C57-4F5C-A495-C8205296EAB4}" type="pres">
      <dgm:prSet presAssocID="{6CEE2B26-7A14-4B21-9E86-665F66FFCA2F}" presName="text" presStyleLbl="node1" presStyleIdx="0" presStyleCnt="2">
        <dgm:presLayoutVars>
          <dgm:bulletEnabled val="1"/>
        </dgm:presLayoutVars>
      </dgm:prSet>
      <dgm:spPr/>
    </dgm:pt>
    <dgm:pt modelId="{E9523EB5-C1CF-48B3-91CC-5F237260CECA}" type="pres">
      <dgm:prSet presAssocID="{B000556E-7BA3-4CCE-B4C2-92367A6ABB63}" presName="spacer" presStyleCnt="0"/>
      <dgm:spPr/>
    </dgm:pt>
    <dgm:pt modelId="{06013F15-B492-478E-8636-F5F227163685}" type="pres">
      <dgm:prSet presAssocID="{330254BB-6EE3-4B14-82BE-B5F1D77F40D2}" presName="comp" presStyleCnt="0"/>
      <dgm:spPr/>
    </dgm:pt>
    <dgm:pt modelId="{736215B5-7AD6-40DB-B06D-288AD88C13E2}" type="pres">
      <dgm:prSet presAssocID="{330254BB-6EE3-4B14-82BE-B5F1D77F40D2}" presName="box" presStyleLbl="node1" presStyleIdx="1" presStyleCnt="2"/>
      <dgm:spPr/>
    </dgm:pt>
    <dgm:pt modelId="{4E6B070F-5B61-4A1E-9F6C-6E8E78DE624E}" type="pres">
      <dgm:prSet presAssocID="{330254BB-6EE3-4B14-82BE-B5F1D77F40D2}" presName="img" presStyleLbl="fgImgPlace1" presStyleIdx="1" presStyleCnt="2"/>
      <dgm:spPr/>
    </dgm:pt>
    <dgm:pt modelId="{C51E93BE-13A0-473C-8933-E878EBE09830}" type="pres">
      <dgm:prSet presAssocID="{330254BB-6EE3-4B14-82BE-B5F1D77F40D2}" presName="text" presStyleLbl="node1" presStyleIdx="1" presStyleCnt="2">
        <dgm:presLayoutVars>
          <dgm:bulletEnabled val="1"/>
        </dgm:presLayoutVars>
      </dgm:prSet>
      <dgm:spPr/>
    </dgm:pt>
  </dgm:ptLst>
  <dgm:cxnLst>
    <dgm:cxn modelId="{95780B01-1B4B-42E9-B3C4-D49A8FD8FACD}" type="presOf" srcId="{330254BB-6EE3-4B14-82BE-B5F1D77F40D2}" destId="{736215B5-7AD6-40DB-B06D-288AD88C13E2}" srcOrd="0" destOrd="0" presId="urn:microsoft.com/office/officeart/2005/8/layout/vList4"/>
    <dgm:cxn modelId="{B2816D02-489E-46B3-970E-7EDF540A77CB}" type="presOf" srcId="{6CEE2B26-7A14-4B21-9E86-665F66FFCA2F}" destId="{B5051A49-0081-435B-8156-2CC648E55D90}" srcOrd="0" destOrd="0" presId="urn:microsoft.com/office/officeart/2005/8/layout/vList4"/>
    <dgm:cxn modelId="{61FE6F03-C771-4594-809E-847B76359192}" srcId="{6CEE2B26-7A14-4B21-9E86-665F66FFCA2F}" destId="{85BDD79B-AAC2-45AA-BCB9-C2DC25489D5F}" srcOrd="0" destOrd="0" parTransId="{49D070AC-0183-4142-B310-72BB11699B4D}" sibTransId="{B97E961B-D9C5-4494-B3AE-E3C8108A786E}"/>
    <dgm:cxn modelId="{7AB2F21B-6F54-479F-BDF0-2545ADE937D6}" srcId="{6CEE2B26-7A14-4B21-9E86-665F66FFCA2F}" destId="{1D17B07B-65B5-4FA3-A063-7D1E6ACD0C9F}" srcOrd="1" destOrd="0" parTransId="{26DB97F6-5382-48EB-95BD-750258917D63}" sibTransId="{23594380-F5F2-4D36-A207-91142ED72496}"/>
    <dgm:cxn modelId="{2C01AB27-7259-45DD-8AFF-E5F952BF6986}" type="presOf" srcId="{EB34E464-44CD-4F4D-8C1B-0A6985453D41}" destId="{13D42B2C-863E-40CF-BC79-67DAC9C3CF8F}" srcOrd="0" destOrd="0" presId="urn:microsoft.com/office/officeart/2005/8/layout/vList4"/>
    <dgm:cxn modelId="{A545AD27-4862-4F20-97F0-D68F0A348484}" srcId="{330254BB-6EE3-4B14-82BE-B5F1D77F40D2}" destId="{E97D16AE-90B8-4769-A161-CD80E9560003}" srcOrd="0" destOrd="0" parTransId="{A602925B-4802-4622-B3B2-44E5D6676A76}" sibTransId="{1A448A7C-DECF-4725-B8E2-2830E39348ED}"/>
    <dgm:cxn modelId="{D25DA731-136F-4DAF-8900-33C8E0B1093C}" type="presOf" srcId="{E97D16AE-90B8-4769-A161-CD80E9560003}" destId="{736215B5-7AD6-40DB-B06D-288AD88C13E2}" srcOrd="0" destOrd="1" presId="urn:microsoft.com/office/officeart/2005/8/layout/vList4"/>
    <dgm:cxn modelId="{D7A00732-F7F5-40B9-814E-56485428B4AE}" type="presOf" srcId="{2A8A868F-4CDF-4B2E-8667-83E88534909F}" destId="{C51E93BE-13A0-473C-8933-E878EBE09830}" srcOrd="1" destOrd="2" presId="urn:microsoft.com/office/officeart/2005/8/layout/vList4"/>
    <dgm:cxn modelId="{ADE4E534-388B-4002-98BD-2D3DDB7919BD}" srcId="{6CEE2B26-7A14-4B21-9E86-665F66FFCA2F}" destId="{5848F3AE-EA28-4223-AA06-7776558DB572}" srcOrd="2" destOrd="0" parTransId="{33689107-6059-4FAE-97D5-4D8EB15A2DB0}" sibTransId="{275047C6-3B09-4001-860A-B8367DA0FC11}"/>
    <dgm:cxn modelId="{917CE040-7350-4EFA-A79E-AD5F7466C5E8}" type="presOf" srcId="{6CEE2B26-7A14-4B21-9E86-665F66FFCA2F}" destId="{5A87D29A-6C57-4F5C-A495-C8205296EAB4}" srcOrd="1" destOrd="0" presId="urn:microsoft.com/office/officeart/2005/8/layout/vList4"/>
    <dgm:cxn modelId="{B9F52365-7FEB-47EC-B2A7-6E775BB896AE}" srcId="{EB34E464-44CD-4F4D-8C1B-0A6985453D41}" destId="{6CEE2B26-7A14-4B21-9E86-665F66FFCA2F}" srcOrd="0" destOrd="0" parTransId="{A0336C2E-9487-4C94-9D64-D01FC59984D5}" sibTransId="{B000556E-7BA3-4CCE-B4C2-92367A6ABB63}"/>
    <dgm:cxn modelId="{AA4DEB46-B311-4592-9360-6228BDB10A24}" srcId="{330254BB-6EE3-4B14-82BE-B5F1D77F40D2}" destId="{C6A92639-EF64-4530-8BD5-C2B864B76AEB}" srcOrd="2" destOrd="0" parTransId="{751A94FB-A727-450A-B479-994499585ECE}" sibTransId="{5DF20CF6-77CF-4378-8ACC-6FDDB9471624}"/>
    <dgm:cxn modelId="{EDD11948-09C4-4049-961A-B625D31676A5}" type="presOf" srcId="{E97D16AE-90B8-4769-A161-CD80E9560003}" destId="{C51E93BE-13A0-473C-8933-E878EBE09830}" srcOrd="1" destOrd="1" presId="urn:microsoft.com/office/officeart/2005/8/layout/vList4"/>
    <dgm:cxn modelId="{815D3675-9D4D-4913-9E93-D4525D01DC04}" type="presOf" srcId="{C6A92639-EF64-4530-8BD5-C2B864B76AEB}" destId="{736215B5-7AD6-40DB-B06D-288AD88C13E2}" srcOrd="0" destOrd="3" presId="urn:microsoft.com/office/officeart/2005/8/layout/vList4"/>
    <dgm:cxn modelId="{29BE028B-D164-482C-9D95-B9B2D0FF9AA0}" type="presOf" srcId="{85BDD79B-AAC2-45AA-BCB9-C2DC25489D5F}" destId="{B5051A49-0081-435B-8156-2CC648E55D90}" srcOrd="0" destOrd="1" presId="urn:microsoft.com/office/officeart/2005/8/layout/vList4"/>
    <dgm:cxn modelId="{F9AB5A8E-B692-42FE-9CD6-73D0E38C56BB}" srcId="{EB34E464-44CD-4F4D-8C1B-0A6985453D41}" destId="{330254BB-6EE3-4B14-82BE-B5F1D77F40D2}" srcOrd="1" destOrd="0" parTransId="{11A5F9F1-927E-4BA7-868F-FA8CA2101E12}" sibTransId="{FCA30740-A5FB-4E51-8DFC-8EB9D03A3874}"/>
    <dgm:cxn modelId="{C5EEEA93-0464-430C-B2DF-C76BFEE150BB}" type="presOf" srcId="{C6A92639-EF64-4530-8BD5-C2B864B76AEB}" destId="{C51E93BE-13A0-473C-8933-E878EBE09830}" srcOrd="1" destOrd="3" presId="urn:microsoft.com/office/officeart/2005/8/layout/vList4"/>
    <dgm:cxn modelId="{2344AD98-F13E-4189-B143-FBF7E8E5A7D7}" type="presOf" srcId="{85BDD79B-AAC2-45AA-BCB9-C2DC25489D5F}" destId="{5A87D29A-6C57-4F5C-A495-C8205296EAB4}" srcOrd="1" destOrd="1" presId="urn:microsoft.com/office/officeart/2005/8/layout/vList4"/>
    <dgm:cxn modelId="{55D43DA0-BE2E-4A10-A06B-1063DD90F7FB}" type="presOf" srcId="{1D17B07B-65B5-4FA3-A063-7D1E6ACD0C9F}" destId="{5A87D29A-6C57-4F5C-A495-C8205296EAB4}" srcOrd="1" destOrd="2" presId="urn:microsoft.com/office/officeart/2005/8/layout/vList4"/>
    <dgm:cxn modelId="{D5A0E9B5-6289-4386-ACCE-4BDC92557FCB}" type="presOf" srcId="{5848F3AE-EA28-4223-AA06-7776558DB572}" destId="{5A87D29A-6C57-4F5C-A495-C8205296EAB4}" srcOrd="1" destOrd="3" presId="urn:microsoft.com/office/officeart/2005/8/layout/vList4"/>
    <dgm:cxn modelId="{DAD939CD-5884-49A1-9166-F25184FA0CC5}" type="presOf" srcId="{330254BB-6EE3-4B14-82BE-B5F1D77F40D2}" destId="{C51E93BE-13A0-473C-8933-E878EBE09830}" srcOrd="1" destOrd="0" presId="urn:microsoft.com/office/officeart/2005/8/layout/vList4"/>
    <dgm:cxn modelId="{E0AA81D2-6361-4876-9498-111D9E6EAD19}" type="presOf" srcId="{2A8A868F-4CDF-4B2E-8667-83E88534909F}" destId="{736215B5-7AD6-40DB-B06D-288AD88C13E2}" srcOrd="0" destOrd="2" presId="urn:microsoft.com/office/officeart/2005/8/layout/vList4"/>
    <dgm:cxn modelId="{AB2B07D5-D189-43FF-A38A-70CD1D823E43}" srcId="{330254BB-6EE3-4B14-82BE-B5F1D77F40D2}" destId="{2A8A868F-4CDF-4B2E-8667-83E88534909F}" srcOrd="1" destOrd="0" parTransId="{23B74A0E-4741-4B94-BD8D-8B25FCB5861F}" sibTransId="{3FAE7DD2-E42F-45D5-A03F-F57DFDC4F63C}"/>
    <dgm:cxn modelId="{B123C7EB-AFA1-4489-838B-826D398A0626}" type="presOf" srcId="{1D17B07B-65B5-4FA3-A063-7D1E6ACD0C9F}" destId="{B5051A49-0081-435B-8156-2CC648E55D90}" srcOrd="0" destOrd="2" presId="urn:microsoft.com/office/officeart/2005/8/layout/vList4"/>
    <dgm:cxn modelId="{1DE963ED-5F78-4FBB-81F6-9BBE25042C3E}" type="presOf" srcId="{5848F3AE-EA28-4223-AA06-7776558DB572}" destId="{B5051A49-0081-435B-8156-2CC648E55D90}" srcOrd="0" destOrd="3" presId="urn:microsoft.com/office/officeart/2005/8/layout/vList4"/>
    <dgm:cxn modelId="{FA2A130B-1AAB-43B9-ABD4-163457929E9A}" type="presParOf" srcId="{13D42B2C-863E-40CF-BC79-67DAC9C3CF8F}" destId="{31297554-9616-4E73-831C-C47CB2BBC6A2}" srcOrd="0" destOrd="0" presId="urn:microsoft.com/office/officeart/2005/8/layout/vList4"/>
    <dgm:cxn modelId="{E7CBC70E-8279-43C1-8A6A-0B924D8F85F9}" type="presParOf" srcId="{31297554-9616-4E73-831C-C47CB2BBC6A2}" destId="{B5051A49-0081-435B-8156-2CC648E55D90}" srcOrd="0" destOrd="0" presId="urn:microsoft.com/office/officeart/2005/8/layout/vList4"/>
    <dgm:cxn modelId="{5513CFB6-98BE-42DF-9705-97A90A24741D}" type="presParOf" srcId="{31297554-9616-4E73-831C-C47CB2BBC6A2}" destId="{67979784-9673-4355-8AE4-492388B0B08A}" srcOrd="1" destOrd="0" presId="urn:microsoft.com/office/officeart/2005/8/layout/vList4"/>
    <dgm:cxn modelId="{BB8E9553-213D-4513-9A57-AFEB819181AC}" type="presParOf" srcId="{31297554-9616-4E73-831C-C47CB2BBC6A2}" destId="{5A87D29A-6C57-4F5C-A495-C8205296EAB4}" srcOrd="2" destOrd="0" presId="urn:microsoft.com/office/officeart/2005/8/layout/vList4"/>
    <dgm:cxn modelId="{DF429402-B336-4241-ABA3-4B5B7FEBC0B9}" type="presParOf" srcId="{13D42B2C-863E-40CF-BC79-67DAC9C3CF8F}" destId="{E9523EB5-C1CF-48B3-91CC-5F237260CECA}" srcOrd="1" destOrd="0" presId="urn:microsoft.com/office/officeart/2005/8/layout/vList4"/>
    <dgm:cxn modelId="{DA7A38A7-726D-4102-BBCD-4B70645335C3}" type="presParOf" srcId="{13D42B2C-863E-40CF-BC79-67DAC9C3CF8F}" destId="{06013F15-B492-478E-8636-F5F227163685}" srcOrd="2" destOrd="0" presId="urn:microsoft.com/office/officeart/2005/8/layout/vList4"/>
    <dgm:cxn modelId="{9F1CA7BB-EF7C-40F2-83C3-0C42E1A745B6}" type="presParOf" srcId="{06013F15-B492-478E-8636-F5F227163685}" destId="{736215B5-7AD6-40DB-B06D-288AD88C13E2}" srcOrd="0" destOrd="0" presId="urn:microsoft.com/office/officeart/2005/8/layout/vList4"/>
    <dgm:cxn modelId="{AA3E685E-2A6F-44F4-BC3D-11C9408816B1}" type="presParOf" srcId="{06013F15-B492-478E-8636-F5F227163685}" destId="{4E6B070F-5B61-4A1E-9F6C-6E8E78DE624E}" srcOrd="1" destOrd="0" presId="urn:microsoft.com/office/officeart/2005/8/layout/vList4"/>
    <dgm:cxn modelId="{BF1A9609-1148-41F8-B60A-3585FF7E52EB}" type="presParOf" srcId="{06013F15-B492-478E-8636-F5F227163685}" destId="{C51E93BE-13A0-473C-8933-E878EBE09830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1968302-70E6-496D-93DB-F187512D7A8A}" type="doc">
      <dgm:prSet loTypeId="urn:microsoft.com/office/officeart/2005/8/layout/vProcess5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de-DE"/>
        </a:p>
      </dgm:t>
    </dgm:pt>
    <dgm:pt modelId="{9ACD46D7-A397-4C63-8D3A-43B62EE9776F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Einführungsphase</a:t>
          </a:r>
        </a:p>
      </dgm:t>
    </dgm:pt>
    <dgm:pt modelId="{BE0E9F09-0006-4C3E-BF9A-EE92FC473027}" type="parTrans" cxnId="{9D7ADA2B-B2E0-4ADD-B03D-F334746435A3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F8ABC9D8-91D1-431C-8175-A4DB09C825B6}" type="sibTrans" cxnId="{9D7ADA2B-B2E0-4ADD-B03D-F334746435A3}">
      <dgm:prSet/>
      <dgm:spPr>
        <a:solidFill>
          <a:srgbClr val="E60002">
            <a:alpha val="90000"/>
          </a:srgbClr>
        </a:solidFill>
      </dgm:spPr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922B1CCC-F7E8-446E-83B5-206777A0D13E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Jahrgangsstufe </a:t>
          </a:r>
          <a:r>
            <a:rPr lang="de-DE" i="1" dirty="0">
              <a:solidFill>
                <a:schemeClr val="tx1"/>
              </a:solidFill>
            </a:rPr>
            <a:t>EF</a:t>
          </a:r>
          <a:r>
            <a:rPr lang="de-DE" dirty="0">
              <a:solidFill>
                <a:schemeClr val="tx1"/>
              </a:solidFill>
            </a:rPr>
            <a:t> mit Versetzung in die Jahrgangsstufe </a:t>
          </a:r>
          <a:r>
            <a:rPr lang="de-DE" i="1" dirty="0">
              <a:solidFill>
                <a:schemeClr val="tx1"/>
              </a:solidFill>
            </a:rPr>
            <a:t>Q1</a:t>
          </a:r>
        </a:p>
      </dgm:t>
    </dgm:pt>
    <dgm:pt modelId="{0998C6F4-A11D-4D2F-BD03-DEF64B44C177}" type="parTrans" cxnId="{57F02450-20A5-4163-9353-50408BC4A749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5232C88C-4293-4D3F-A48F-7C8BF7BACB33}" type="sibTrans" cxnId="{57F02450-20A5-4163-9353-50408BC4A749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9AA8678F-3A73-4E43-8B9E-9F2165EF5DC7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Qualifikationsphase</a:t>
          </a:r>
        </a:p>
      </dgm:t>
    </dgm:pt>
    <dgm:pt modelId="{733C058A-4634-4F3C-873C-AC845D83A391}" type="parTrans" cxnId="{ECE5B832-1B6A-4608-8DB2-FBA692C157BB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F88DDC6C-DC72-477F-B822-F8E406E1B8BF}" type="sibTrans" cxnId="{ECE5B832-1B6A-4608-8DB2-FBA692C157BB}">
      <dgm:prSet/>
      <dgm:spPr>
        <a:solidFill>
          <a:srgbClr val="E60002">
            <a:alpha val="90000"/>
          </a:srgbClr>
        </a:solidFill>
      </dgm:spPr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F6469A8A-C46A-4C5B-9F3B-0E3D79BEF593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Jahrgangsstufen </a:t>
          </a:r>
          <a:r>
            <a:rPr lang="de-DE" i="1" dirty="0">
              <a:solidFill>
                <a:schemeClr val="tx1"/>
              </a:solidFill>
            </a:rPr>
            <a:t>Q1</a:t>
          </a:r>
          <a:r>
            <a:rPr lang="de-DE" dirty="0">
              <a:solidFill>
                <a:schemeClr val="tx1"/>
              </a:solidFill>
            </a:rPr>
            <a:t> und </a:t>
          </a:r>
          <a:r>
            <a:rPr lang="de-DE" i="1" dirty="0">
              <a:solidFill>
                <a:schemeClr val="tx1"/>
              </a:solidFill>
            </a:rPr>
            <a:t>Q2</a:t>
          </a:r>
          <a:r>
            <a:rPr lang="de-DE" dirty="0">
              <a:solidFill>
                <a:schemeClr val="tx1"/>
              </a:solidFill>
            </a:rPr>
            <a:t> mit Abiturzulassung</a:t>
          </a:r>
        </a:p>
      </dgm:t>
    </dgm:pt>
    <dgm:pt modelId="{269A8AF8-184C-4962-8DEA-D33EF901EEC2}" type="parTrans" cxnId="{3AD134F7-D5A3-4F0B-A8D9-AC1D11DA32F6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F6991301-0C3F-4136-AEE8-C73F323A4270}" type="sibTrans" cxnId="{3AD134F7-D5A3-4F0B-A8D9-AC1D11DA32F6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1D9FE3B8-B578-4026-A63E-6D9C4851EC76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Abitur</a:t>
          </a:r>
        </a:p>
      </dgm:t>
    </dgm:pt>
    <dgm:pt modelId="{62946F31-E5E3-4FDD-8FC4-45CA984D98CF}" type="parTrans" cxnId="{F95BE23D-B1DF-4453-B185-A70BC04FDCF1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01188159-67E4-4B8C-9C86-8B9369FFED4C}" type="sibTrans" cxnId="{F95BE23D-B1DF-4453-B185-A70BC04FDCF1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32D62535-47DA-48F0-BAE7-5C34BE573C81}">
      <dgm:prSet phldrT="[Text]"/>
      <dgm:spPr>
        <a:solidFill>
          <a:srgbClr val="A4C0E3"/>
        </a:solidFill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Abiturprüfung</a:t>
          </a:r>
        </a:p>
      </dgm:t>
    </dgm:pt>
    <dgm:pt modelId="{773724F8-58A4-4869-B73C-C9DF6714EB78}" type="parTrans" cxnId="{3B8441E9-604F-4FBF-A15B-504896619854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18C36737-C686-4091-A745-99736B9857F9}" type="sibTrans" cxnId="{3B8441E9-604F-4FBF-A15B-504896619854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36F29889-8E2A-4902-BB2E-98B5DDB73903}" type="pres">
      <dgm:prSet presAssocID="{F1968302-70E6-496D-93DB-F187512D7A8A}" presName="outerComposite" presStyleCnt="0">
        <dgm:presLayoutVars>
          <dgm:chMax val="5"/>
          <dgm:dir/>
          <dgm:resizeHandles val="exact"/>
        </dgm:presLayoutVars>
      </dgm:prSet>
      <dgm:spPr/>
    </dgm:pt>
    <dgm:pt modelId="{FDA53E66-8DC7-4AA9-88C6-F5957F198BD9}" type="pres">
      <dgm:prSet presAssocID="{F1968302-70E6-496D-93DB-F187512D7A8A}" presName="dummyMaxCanvas" presStyleCnt="0">
        <dgm:presLayoutVars/>
      </dgm:prSet>
      <dgm:spPr/>
    </dgm:pt>
    <dgm:pt modelId="{143402E8-AB3D-49D1-BF95-EE14F90229B7}" type="pres">
      <dgm:prSet presAssocID="{F1968302-70E6-496D-93DB-F187512D7A8A}" presName="ThreeNodes_1" presStyleLbl="node1" presStyleIdx="0" presStyleCnt="3">
        <dgm:presLayoutVars>
          <dgm:bulletEnabled val="1"/>
        </dgm:presLayoutVars>
      </dgm:prSet>
      <dgm:spPr/>
    </dgm:pt>
    <dgm:pt modelId="{3BAD1B1D-D6AA-4B29-9D80-82576638BAE2}" type="pres">
      <dgm:prSet presAssocID="{F1968302-70E6-496D-93DB-F187512D7A8A}" presName="ThreeNodes_2" presStyleLbl="node1" presStyleIdx="1" presStyleCnt="3">
        <dgm:presLayoutVars>
          <dgm:bulletEnabled val="1"/>
        </dgm:presLayoutVars>
      </dgm:prSet>
      <dgm:spPr/>
    </dgm:pt>
    <dgm:pt modelId="{07CD3453-249E-4C82-A921-57B3D5854924}" type="pres">
      <dgm:prSet presAssocID="{F1968302-70E6-496D-93DB-F187512D7A8A}" presName="ThreeNodes_3" presStyleLbl="node1" presStyleIdx="2" presStyleCnt="3">
        <dgm:presLayoutVars>
          <dgm:bulletEnabled val="1"/>
        </dgm:presLayoutVars>
      </dgm:prSet>
      <dgm:spPr/>
    </dgm:pt>
    <dgm:pt modelId="{C58D6D8C-7DB1-4713-8E0D-0451F27DB6BD}" type="pres">
      <dgm:prSet presAssocID="{F1968302-70E6-496D-93DB-F187512D7A8A}" presName="ThreeConn_1-2" presStyleLbl="fgAccFollowNode1" presStyleIdx="0" presStyleCnt="2">
        <dgm:presLayoutVars>
          <dgm:bulletEnabled val="1"/>
        </dgm:presLayoutVars>
      </dgm:prSet>
      <dgm:spPr/>
    </dgm:pt>
    <dgm:pt modelId="{36B1BBF2-C1DC-4CDA-BDF1-ECDFA87157C3}" type="pres">
      <dgm:prSet presAssocID="{F1968302-70E6-496D-93DB-F187512D7A8A}" presName="ThreeConn_2-3" presStyleLbl="fgAccFollowNode1" presStyleIdx="1" presStyleCnt="2">
        <dgm:presLayoutVars>
          <dgm:bulletEnabled val="1"/>
        </dgm:presLayoutVars>
      </dgm:prSet>
      <dgm:spPr/>
    </dgm:pt>
    <dgm:pt modelId="{DC65463C-0CED-4FBE-957F-34B8B1558B2F}" type="pres">
      <dgm:prSet presAssocID="{F1968302-70E6-496D-93DB-F187512D7A8A}" presName="ThreeNodes_1_text" presStyleLbl="node1" presStyleIdx="2" presStyleCnt="3">
        <dgm:presLayoutVars>
          <dgm:bulletEnabled val="1"/>
        </dgm:presLayoutVars>
      </dgm:prSet>
      <dgm:spPr/>
    </dgm:pt>
    <dgm:pt modelId="{FD261A97-6B68-4A2F-89FD-7EC0CAC1B6EE}" type="pres">
      <dgm:prSet presAssocID="{F1968302-70E6-496D-93DB-F187512D7A8A}" presName="ThreeNodes_2_text" presStyleLbl="node1" presStyleIdx="2" presStyleCnt="3">
        <dgm:presLayoutVars>
          <dgm:bulletEnabled val="1"/>
        </dgm:presLayoutVars>
      </dgm:prSet>
      <dgm:spPr/>
    </dgm:pt>
    <dgm:pt modelId="{6CA1A02E-AF54-43B7-B23A-034AF6D409B2}" type="pres">
      <dgm:prSet presAssocID="{F1968302-70E6-496D-93DB-F187512D7A8A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FF587C14-CD5D-46A5-A53C-1AC639C97872}" type="presOf" srcId="{9ACD46D7-A397-4C63-8D3A-43B62EE9776F}" destId="{DC65463C-0CED-4FBE-957F-34B8B1558B2F}" srcOrd="1" destOrd="0" presId="urn:microsoft.com/office/officeart/2005/8/layout/vProcess5"/>
    <dgm:cxn modelId="{DF213B21-D46C-468C-8235-B770A9BED087}" type="presOf" srcId="{9ACD46D7-A397-4C63-8D3A-43B62EE9776F}" destId="{143402E8-AB3D-49D1-BF95-EE14F90229B7}" srcOrd="0" destOrd="0" presId="urn:microsoft.com/office/officeart/2005/8/layout/vProcess5"/>
    <dgm:cxn modelId="{9D7ADA2B-B2E0-4ADD-B03D-F334746435A3}" srcId="{F1968302-70E6-496D-93DB-F187512D7A8A}" destId="{9ACD46D7-A397-4C63-8D3A-43B62EE9776F}" srcOrd="0" destOrd="0" parTransId="{BE0E9F09-0006-4C3E-BF9A-EE92FC473027}" sibTransId="{F8ABC9D8-91D1-431C-8175-A4DB09C825B6}"/>
    <dgm:cxn modelId="{ECE5B832-1B6A-4608-8DB2-FBA692C157BB}" srcId="{F1968302-70E6-496D-93DB-F187512D7A8A}" destId="{9AA8678F-3A73-4E43-8B9E-9F2165EF5DC7}" srcOrd="1" destOrd="0" parTransId="{733C058A-4634-4F3C-873C-AC845D83A391}" sibTransId="{F88DDC6C-DC72-477F-B822-F8E406E1B8BF}"/>
    <dgm:cxn modelId="{97D80339-1607-4CC5-9817-E069E5504E5F}" type="presOf" srcId="{F1968302-70E6-496D-93DB-F187512D7A8A}" destId="{36F29889-8E2A-4902-BB2E-98B5DDB73903}" srcOrd="0" destOrd="0" presId="urn:microsoft.com/office/officeart/2005/8/layout/vProcess5"/>
    <dgm:cxn modelId="{F95BE23D-B1DF-4453-B185-A70BC04FDCF1}" srcId="{F1968302-70E6-496D-93DB-F187512D7A8A}" destId="{1D9FE3B8-B578-4026-A63E-6D9C4851EC76}" srcOrd="2" destOrd="0" parTransId="{62946F31-E5E3-4FDD-8FC4-45CA984D98CF}" sibTransId="{01188159-67E4-4B8C-9C86-8B9369FFED4C}"/>
    <dgm:cxn modelId="{523D7C3E-16E1-4171-9386-A383BBBD26FE}" type="presOf" srcId="{1D9FE3B8-B578-4026-A63E-6D9C4851EC76}" destId="{07CD3453-249E-4C82-A921-57B3D5854924}" srcOrd="0" destOrd="0" presId="urn:microsoft.com/office/officeart/2005/8/layout/vProcess5"/>
    <dgm:cxn modelId="{7CA2215B-77C9-4A8F-9DFE-D753B95C4C65}" type="presOf" srcId="{F6469A8A-C46A-4C5B-9F3B-0E3D79BEF593}" destId="{FD261A97-6B68-4A2F-89FD-7EC0CAC1B6EE}" srcOrd="1" destOrd="1" presId="urn:microsoft.com/office/officeart/2005/8/layout/vProcess5"/>
    <dgm:cxn modelId="{1FB6424B-DDE2-428B-B5C3-F516F5DF873D}" type="presOf" srcId="{32D62535-47DA-48F0-BAE7-5C34BE573C81}" destId="{6CA1A02E-AF54-43B7-B23A-034AF6D409B2}" srcOrd="1" destOrd="1" presId="urn:microsoft.com/office/officeart/2005/8/layout/vProcess5"/>
    <dgm:cxn modelId="{57F02450-20A5-4163-9353-50408BC4A749}" srcId="{9ACD46D7-A397-4C63-8D3A-43B62EE9776F}" destId="{922B1CCC-F7E8-446E-83B5-206777A0D13E}" srcOrd="0" destOrd="0" parTransId="{0998C6F4-A11D-4D2F-BD03-DEF64B44C177}" sibTransId="{5232C88C-4293-4D3F-A48F-7C8BF7BACB33}"/>
    <dgm:cxn modelId="{87556077-510E-4D7D-90DD-F78A91EA9527}" type="presOf" srcId="{F88DDC6C-DC72-477F-B822-F8E406E1B8BF}" destId="{36B1BBF2-C1DC-4CDA-BDF1-ECDFA87157C3}" srcOrd="0" destOrd="0" presId="urn:microsoft.com/office/officeart/2005/8/layout/vProcess5"/>
    <dgm:cxn modelId="{77628092-BB2A-4938-8D4F-912AF69F13FD}" type="presOf" srcId="{1D9FE3B8-B578-4026-A63E-6D9C4851EC76}" destId="{6CA1A02E-AF54-43B7-B23A-034AF6D409B2}" srcOrd="1" destOrd="0" presId="urn:microsoft.com/office/officeart/2005/8/layout/vProcess5"/>
    <dgm:cxn modelId="{912EBD9D-C5C9-4F7B-885A-37536AF43E03}" type="presOf" srcId="{9AA8678F-3A73-4E43-8B9E-9F2165EF5DC7}" destId="{FD261A97-6B68-4A2F-89FD-7EC0CAC1B6EE}" srcOrd="1" destOrd="0" presId="urn:microsoft.com/office/officeart/2005/8/layout/vProcess5"/>
    <dgm:cxn modelId="{2A2A65A9-7332-4BB7-BF53-72E46319404F}" type="presOf" srcId="{F8ABC9D8-91D1-431C-8175-A4DB09C825B6}" destId="{C58D6D8C-7DB1-4713-8E0D-0451F27DB6BD}" srcOrd="0" destOrd="0" presId="urn:microsoft.com/office/officeart/2005/8/layout/vProcess5"/>
    <dgm:cxn modelId="{48F481D5-3642-4349-AEBB-DBFBBDD18CDB}" type="presOf" srcId="{9AA8678F-3A73-4E43-8B9E-9F2165EF5DC7}" destId="{3BAD1B1D-D6AA-4B29-9D80-82576638BAE2}" srcOrd="0" destOrd="0" presId="urn:microsoft.com/office/officeart/2005/8/layout/vProcess5"/>
    <dgm:cxn modelId="{F32820DE-9A01-4621-AC97-1B273284464E}" type="presOf" srcId="{F6469A8A-C46A-4C5B-9F3B-0E3D79BEF593}" destId="{3BAD1B1D-D6AA-4B29-9D80-82576638BAE2}" srcOrd="0" destOrd="1" presId="urn:microsoft.com/office/officeart/2005/8/layout/vProcess5"/>
    <dgm:cxn modelId="{D6C702DF-2144-4CE0-8276-D60E4FB2E2F7}" type="presOf" srcId="{922B1CCC-F7E8-446E-83B5-206777A0D13E}" destId="{143402E8-AB3D-49D1-BF95-EE14F90229B7}" srcOrd="0" destOrd="1" presId="urn:microsoft.com/office/officeart/2005/8/layout/vProcess5"/>
    <dgm:cxn modelId="{F09574E7-98F9-45A8-B39A-80D86F14E41D}" type="presOf" srcId="{32D62535-47DA-48F0-BAE7-5C34BE573C81}" destId="{07CD3453-249E-4C82-A921-57B3D5854924}" srcOrd="0" destOrd="1" presId="urn:microsoft.com/office/officeart/2005/8/layout/vProcess5"/>
    <dgm:cxn modelId="{0FD4FBE8-0D7E-464B-BEAB-51009F297D35}" type="presOf" srcId="{922B1CCC-F7E8-446E-83B5-206777A0D13E}" destId="{DC65463C-0CED-4FBE-957F-34B8B1558B2F}" srcOrd="1" destOrd="1" presId="urn:microsoft.com/office/officeart/2005/8/layout/vProcess5"/>
    <dgm:cxn modelId="{3B8441E9-604F-4FBF-A15B-504896619854}" srcId="{1D9FE3B8-B578-4026-A63E-6D9C4851EC76}" destId="{32D62535-47DA-48F0-BAE7-5C34BE573C81}" srcOrd="0" destOrd="0" parTransId="{773724F8-58A4-4869-B73C-C9DF6714EB78}" sibTransId="{18C36737-C686-4091-A745-99736B9857F9}"/>
    <dgm:cxn modelId="{3AD134F7-D5A3-4F0B-A8D9-AC1D11DA32F6}" srcId="{9AA8678F-3A73-4E43-8B9E-9F2165EF5DC7}" destId="{F6469A8A-C46A-4C5B-9F3B-0E3D79BEF593}" srcOrd="0" destOrd="0" parTransId="{269A8AF8-184C-4962-8DEA-D33EF901EEC2}" sibTransId="{F6991301-0C3F-4136-AEE8-C73F323A4270}"/>
    <dgm:cxn modelId="{55CC84E9-5A0B-4BE0-8298-B558894D7043}" type="presParOf" srcId="{36F29889-8E2A-4902-BB2E-98B5DDB73903}" destId="{FDA53E66-8DC7-4AA9-88C6-F5957F198BD9}" srcOrd="0" destOrd="0" presId="urn:microsoft.com/office/officeart/2005/8/layout/vProcess5"/>
    <dgm:cxn modelId="{CA9AEA05-DECA-4483-88A9-A2958D9D6CA0}" type="presParOf" srcId="{36F29889-8E2A-4902-BB2E-98B5DDB73903}" destId="{143402E8-AB3D-49D1-BF95-EE14F90229B7}" srcOrd="1" destOrd="0" presId="urn:microsoft.com/office/officeart/2005/8/layout/vProcess5"/>
    <dgm:cxn modelId="{0DD4AAB4-71B6-4C98-8607-4D78C9D5AFFB}" type="presParOf" srcId="{36F29889-8E2A-4902-BB2E-98B5DDB73903}" destId="{3BAD1B1D-D6AA-4B29-9D80-82576638BAE2}" srcOrd="2" destOrd="0" presId="urn:microsoft.com/office/officeart/2005/8/layout/vProcess5"/>
    <dgm:cxn modelId="{9344172E-4341-41FE-8175-1C85EB963C2D}" type="presParOf" srcId="{36F29889-8E2A-4902-BB2E-98B5DDB73903}" destId="{07CD3453-249E-4C82-A921-57B3D5854924}" srcOrd="3" destOrd="0" presId="urn:microsoft.com/office/officeart/2005/8/layout/vProcess5"/>
    <dgm:cxn modelId="{8C45A40A-BB94-490C-81CA-BAB72B8FD80B}" type="presParOf" srcId="{36F29889-8E2A-4902-BB2E-98B5DDB73903}" destId="{C58D6D8C-7DB1-4713-8E0D-0451F27DB6BD}" srcOrd="4" destOrd="0" presId="urn:microsoft.com/office/officeart/2005/8/layout/vProcess5"/>
    <dgm:cxn modelId="{FDD9DFC8-9844-427A-8CB7-6B8A0447A03D}" type="presParOf" srcId="{36F29889-8E2A-4902-BB2E-98B5DDB73903}" destId="{36B1BBF2-C1DC-4CDA-BDF1-ECDFA87157C3}" srcOrd="5" destOrd="0" presId="urn:microsoft.com/office/officeart/2005/8/layout/vProcess5"/>
    <dgm:cxn modelId="{86092058-073A-4732-BD05-3171E647B4C3}" type="presParOf" srcId="{36F29889-8E2A-4902-BB2E-98B5DDB73903}" destId="{DC65463C-0CED-4FBE-957F-34B8B1558B2F}" srcOrd="6" destOrd="0" presId="urn:microsoft.com/office/officeart/2005/8/layout/vProcess5"/>
    <dgm:cxn modelId="{1C39E743-8624-4714-B88F-BB85BEE6DF5F}" type="presParOf" srcId="{36F29889-8E2A-4902-BB2E-98B5DDB73903}" destId="{FD261A97-6B68-4A2F-89FD-7EC0CAC1B6EE}" srcOrd="7" destOrd="0" presId="urn:microsoft.com/office/officeart/2005/8/layout/vProcess5"/>
    <dgm:cxn modelId="{DB6B2269-9728-412C-8E36-934837240E98}" type="presParOf" srcId="{36F29889-8E2A-4902-BB2E-98B5DDB73903}" destId="{6CA1A02E-AF54-43B7-B23A-034AF6D409B2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74C20E7-5E06-4041-A114-D064F0C7B7D2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de-DE"/>
        </a:p>
      </dgm:t>
    </dgm:pt>
    <dgm:pt modelId="{37A03100-A59F-48AF-A2BB-A64184C33836}">
      <dgm:prSet phldrT="[Text]"/>
      <dgm:spPr>
        <a:solidFill>
          <a:srgbClr val="A4C0E3"/>
        </a:solidFill>
      </dgm:spPr>
      <dgm:t>
        <a:bodyPr/>
        <a:lstStyle/>
        <a:p>
          <a:r>
            <a:rPr lang="de-DE" b="0" dirty="0">
              <a:solidFill>
                <a:schemeClr val="tx1"/>
              </a:solidFill>
            </a:rPr>
            <a:t>ein Vertiefungsfach + weiterer Wahlkurs</a:t>
          </a:r>
        </a:p>
      </dgm:t>
    </dgm:pt>
    <dgm:pt modelId="{57F028CA-C2C7-4E1E-9487-2D24E55FEC0C}" type="parTrans" cxnId="{04EB6DBB-32AE-4256-9031-64E317090222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4497951A-9479-4AD3-9759-2892787ECE54}" type="sibTrans" cxnId="{04EB6DBB-32AE-4256-9031-64E317090222}">
      <dgm:prSet/>
      <dgm:spPr/>
      <dgm:t>
        <a:bodyPr/>
        <a:lstStyle/>
        <a:p>
          <a:endParaRPr lang="de-DE">
            <a:solidFill>
              <a:schemeClr val="tx1"/>
            </a:solidFill>
          </a:endParaRPr>
        </a:p>
      </dgm:t>
    </dgm:pt>
    <dgm:pt modelId="{AFB30241-8A72-4451-A938-9AA3261600CD}" type="pres">
      <dgm:prSet presAssocID="{B74C20E7-5E06-4041-A114-D064F0C7B7D2}" presName="Name0" presStyleCnt="0">
        <dgm:presLayoutVars>
          <dgm:chMax val="7"/>
          <dgm:chPref val="7"/>
          <dgm:dir/>
        </dgm:presLayoutVars>
      </dgm:prSet>
      <dgm:spPr/>
    </dgm:pt>
    <dgm:pt modelId="{511DE5CC-0574-4111-A542-33CE295C53DC}" type="pres">
      <dgm:prSet presAssocID="{B74C20E7-5E06-4041-A114-D064F0C7B7D2}" presName="Name1" presStyleCnt="0"/>
      <dgm:spPr/>
    </dgm:pt>
    <dgm:pt modelId="{FD3B2AA6-5DF7-4F98-A2B7-C0504EDC54F2}" type="pres">
      <dgm:prSet presAssocID="{B74C20E7-5E06-4041-A114-D064F0C7B7D2}" presName="cycle" presStyleCnt="0"/>
      <dgm:spPr/>
    </dgm:pt>
    <dgm:pt modelId="{91A4A0A4-1ADF-431C-87F6-EC2760B5D758}" type="pres">
      <dgm:prSet presAssocID="{B74C20E7-5E06-4041-A114-D064F0C7B7D2}" presName="srcNode" presStyleLbl="node1" presStyleIdx="0" presStyleCnt="1"/>
      <dgm:spPr/>
    </dgm:pt>
    <dgm:pt modelId="{A83B91E1-8777-4DA6-85FE-E8510B1EDB65}" type="pres">
      <dgm:prSet presAssocID="{B74C20E7-5E06-4041-A114-D064F0C7B7D2}" presName="conn" presStyleLbl="parChTrans1D2" presStyleIdx="0" presStyleCnt="1"/>
      <dgm:spPr/>
    </dgm:pt>
    <dgm:pt modelId="{59976569-DCEC-4B8D-AE4E-09EC02F53E02}" type="pres">
      <dgm:prSet presAssocID="{B74C20E7-5E06-4041-A114-D064F0C7B7D2}" presName="extraNode" presStyleLbl="node1" presStyleIdx="0" presStyleCnt="1"/>
      <dgm:spPr/>
    </dgm:pt>
    <dgm:pt modelId="{84D14899-434E-4E2E-BBDA-E48B24F85786}" type="pres">
      <dgm:prSet presAssocID="{B74C20E7-5E06-4041-A114-D064F0C7B7D2}" presName="dstNode" presStyleLbl="node1" presStyleIdx="0" presStyleCnt="1"/>
      <dgm:spPr/>
    </dgm:pt>
    <dgm:pt modelId="{FDCE5C65-C44C-4519-AF1B-259CF1FEA177}" type="pres">
      <dgm:prSet presAssocID="{37A03100-A59F-48AF-A2BB-A64184C33836}" presName="text_1" presStyleLbl="node1" presStyleIdx="0" presStyleCnt="1">
        <dgm:presLayoutVars>
          <dgm:bulletEnabled val="1"/>
        </dgm:presLayoutVars>
      </dgm:prSet>
      <dgm:spPr/>
    </dgm:pt>
    <dgm:pt modelId="{0D359854-DF3D-4CD1-969D-6B61DED49021}" type="pres">
      <dgm:prSet presAssocID="{37A03100-A59F-48AF-A2BB-A64184C33836}" presName="accent_1" presStyleCnt="0"/>
      <dgm:spPr/>
    </dgm:pt>
    <dgm:pt modelId="{D60D322D-0676-4024-A7E8-70F77A0A4329}" type="pres">
      <dgm:prSet presAssocID="{37A03100-A59F-48AF-A2BB-A64184C33836}" presName="accentRepeatNode" presStyleLbl="solidFgAcc1" presStyleIdx="0" presStyleCnt="1"/>
      <dgm:spPr/>
    </dgm:pt>
  </dgm:ptLst>
  <dgm:cxnLst>
    <dgm:cxn modelId="{B724BA70-9A9F-422C-8893-69DFF3E7F3F6}" type="presOf" srcId="{37A03100-A59F-48AF-A2BB-A64184C33836}" destId="{FDCE5C65-C44C-4519-AF1B-259CF1FEA177}" srcOrd="0" destOrd="0" presId="urn:microsoft.com/office/officeart/2008/layout/VerticalCurvedList"/>
    <dgm:cxn modelId="{1C67D551-AEA2-432F-AB4E-4AA6F31D2B34}" type="presOf" srcId="{B74C20E7-5E06-4041-A114-D064F0C7B7D2}" destId="{AFB30241-8A72-4451-A938-9AA3261600CD}" srcOrd="0" destOrd="0" presId="urn:microsoft.com/office/officeart/2008/layout/VerticalCurvedList"/>
    <dgm:cxn modelId="{04EB6DBB-32AE-4256-9031-64E317090222}" srcId="{B74C20E7-5E06-4041-A114-D064F0C7B7D2}" destId="{37A03100-A59F-48AF-A2BB-A64184C33836}" srcOrd="0" destOrd="0" parTransId="{57F028CA-C2C7-4E1E-9487-2D24E55FEC0C}" sibTransId="{4497951A-9479-4AD3-9759-2892787ECE54}"/>
    <dgm:cxn modelId="{6E2BB3E6-3C3E-48D6-97B9-75CFE9D1D000}" type="presOf" srcId="{4497951A-9479-4AD3-9759-2892787ECE54}" destId="{A83B91E1-8777-4DA6-85FE-E8510B1EDB65}" srcOrd="0" destOrd="0" presId="urn:microsoft.com/office/officeart/2008/layout/VerticalCurvedList"/>
    <dgm:cxn modelId="{B30510BB-18B8-4437-A268-2AA02CD59F4E}" type="presParOf" srcId="{AFB30241-8A72-4451-A938-9AA3261600CD}" destId="{511DE5CC-0574-4111-A542-33CE295C53DC}" srcOrd="0" destOrd="0" presId="urn:microsoft.com/office/officeart/2008/layout/VerticalCurvedList"/>
    <dgm:cxn modelId="{B99DDA08-ECC6-4B0B-8D01-41716141ABD0}" type="presParOf" srcId="{511DE5CC-0574-4111-A542-33CE295C53DC}" destId="{FD3B2AA6-5DF7-4F98-A2B7-C0504EDC54F2}" srcOrd="0" destOrd="0" presId="urn:microsoft.com/office/officeart/2008/layout/VerticalCurvedList"/>
    <dgm:cxn modelId="{050C78BC-A503-455C-9AC2-0C8515A9F7A0}" type="presParOf" srcId="{FD3B2AA6-5DF7-4F98-A2B7-C0504EDC54F2}" destId="{91A4A0A4-1ADF-431C-87F6-EC2760B5D758}" srcOrd="0" destOrd="0" presId="urn:microsoft.com/office/officeart/2008/layout/VerticalCurvedList"/>
    <dgm:cxn modelId="{B2E09F73-E9E6-41DF-B16B-6F94C0FF3271}" type="presParOf" srcId="{FD3B2AA6-5DF7-4F98-A2B7-C0504EDC54F2}" destId="{A83B91E1-8777-4DA6-85FE-E8510B1EDB65}" srcOrd="1" destOrd="0" presId="urn:microsoft.com/office/officeart/2008/layout/VerticalCurvedList"/>
    <dgm:cxn modelId="{13339536-A6B0-4E5B-B8CE-315477090101}" type="presParOf" srcId="{FD3B2AA6-5DF7-4F98-A2B7-C0504EDC54F2}" destId="{59976569-DCEC-4B8D-AE4E-09EC02F53E02}" srcOrd="2" destOrd="0" presId="urn:microsoft.com/office/officeart/2008/layout/VerticalCurvedList"/>
    <dgm:cxn modelId="{CB4EC177-4180-4D78-ABF0-1EE8CF4F8BB9}" type="presParOf" srcId="{FD3B2AA6-5DF7-4F98-A2B7-C0504EDC54F2}" destId="{84D14899-434E-4E2E-BBDA-E48B24F85786}" srcOrd="3" destOrd="0" presId="urn:microsoft.com/office/officeart/2008/layout/VerticalCurvedList"/>
    <dgm:cxn modelId="{92732635-5DC3-43E7-9C25-7510F14B5712}" type="presParOf" srcId="{511DE5CC-0574-4111-A542-33CE295C53DC}" destId="{FDCE5C65-C44C-4519-AF1B-259CF1FEA177}" srcOrd="1" destOrd="0" presId="urn:microsoft.com/office/officeart/2008/layout/VerticalCurvedList"/>
    <dgm:cxn modelId="{8FB0C747-C7DB-431E-A8F9-50A4EF17EC59}" type="presParOf" srcId="{511DE5CC-0574-4111-A542-33CE295C53DC}" destId="{0D359854-DF3D-4CD1-969D-6B61DED49021}" srcOrd="2" destOrd="0" presId="urn:microsoft.com/office/officeart/2008/layout/VerticalCurvedList"/>
    <dgm:cxn modelId="{D73D74B3-4601-4142-BB75-9702AA5D9AB5}" type="presParOf" srcId="{0D359854-DF3D-4CD1-969D-6B61DED49021}" destId="{D60D322D-0676-4024-A7E8-70F77A0A432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74C20E7-5E06-4041-A114-D064F0C7B7D2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de-DE"/>
        </a:p>
      </dgm:t>
    </dgm:pt>
    <dgm:pt modelId="{A2A073F8-2814-437E-9A5D-B64D8B92BED3}">
      <dgm:prSet phldrT="[Text]" custT="1"/>
      <dgm:spPr>
        <a:solidFill>
          <a:srgbClr val="A4C0E3"/>
        </a:solidFill>
      </dgm:spPr>
      <dgm:t>
        <a:bodyPr/>
        <a:lstStyle/>
        <a:p>
          <a:r>
            <a:rPr lang="de-DE" sz="3400" dirty="0">
              <a:solidFill>
                <a:schemeClr val="tx1"/>
              </a:solidFill>
            </a:rPr>
            <a:t>weiteren Grundkurs	oder</a:t>
          </a:r>
        </a:p>
      </dgm:t>
    </dgm:pt>
    <dgm:pt modelId="{BE1F7340-7DB4-419C-BD82-F044830F1D57}" type="parTrans" cxnId="{C6AF42BD-66AB-4997-BB9D-B0ED791D564D}">
      <dgm:prSet/>
      <dgm:spPr/>
      <dgm:t>
        <a:bodyPr/>
        <a:lstStyle/>
        <a:p>
          <a:endParaRPr lang="de-DE"/>
        </a:p>
      </dgm:t>
    </dgm:pt>
    <dgm:pt modelId="{A74CF712-EBE4-4773-9044-1EBD1F84D67B}" type="sibTrans" cxnId="{C6AF42BD-66AB-4997-BB9D-B0ED791D564D}">
      <dgm:prSet/>
      <dgm:spPr/>
      <dgm:t>
        <a:bodyPr/>
        <a:lstStyle/>
        <a:p>
          <a:endParaRPr lang="de-DE"/>
        </a:p>
      </dgm:t>
    </dgm:pt>
    <dgm:pt modelId="{E0E65DE0-5413-4534-805B-5D07F68AB4E1}">
      <dgm:prSet custT="1"/>
      <dgm:spPr>
        <a:solidFill>
          <a:srgbClr val="A4C0E3"/>
        </a:solidFill>
      </dgm:spPr>
      <dgm:t>
        <a:bodyPr/>
        <a:lstStyle/>
        <a:p>
          <a:r>
            <a:rPr lang="de-DE" sz="3400" dirty="0">
              <a:solidFill>
                <a:schemeClr val="tx1"/>
              </a:solidFill>
            </a:rPr>
            <a:t>Vertiefungsfach/ Projektkurs/Facharbeit</a:t>
          </a:r>
        </a:p>
      </dgm:t>
    </dgm:pt>
    <dgm:pt modelId="{915E1D64-25B1-4B78-951F-DCA1F0AAA796}" type="parTrans" cxnId="{918791EE-E49D-4894-9DDF-5013109867AA}">
      <dgm:prSet/>
      <dgm:spPr/>
      <dgm:t>
        <a:bodyPr/>
        <a:lstStyle/>
        <a:p>
          <a:endParaRPr lang="de-DE"/>
        </a:p>
      </dgm:t>
    </dgm:pt>
    <dgm:pt modelId="{F2057D1E-531D-48CB-918C-20290274B46E}" type="sibTrans" cxnId="{918791EE-E49D-4894-9DDF-5013109867AA}">
      <dgm:prSet/>
      <dgm:spPr/>
      <dgm:t>
        <a:bodyPr/>
        <a:lstStyle/>
        <a:p>
          <a:endParaRPr lang="de-DE"/>
        </a:p>
      </dgm:t>
    </dgm:pt>
    <dgm:pt modelId="{AFB30241-8A72-4451-A938-9AA3261600CD}" type="pres">
      <dgm:prSet presAssocID="{B74C20E7-5E06-4041-A114-D064F0C7B7D2}" presName="Name0" presStyleCnt="0">
        <dgm:presLayoutVars>
          <dgm:chMax val="7"/>
          <dgm:chPref val="7"/>
          <dgm:dir/>
        </dgm:presLayoutVars>
      </dgm:prSet>
      <dgm:spPr/>
    </dgm:pt>
    <dgm:pt modelId="{511DE5CC-0574-4111-A542-33CE295C53DC}" type="pres">
      <dgm:prSet presAssocID="{B74C20E7-5E06-4041-A114-D064F0C7B7D2}" presName="Name1" presStyleCnt="0"/>
      <dgm:spPr/>
    </dgm:pt>
    <dgm:pt modelId="{FD3B2AA6-5DF7-4F98-A2B7-C0504EDC54F2}" type="pres">
      <dgm:prSet presAssocID="{B74C20E7-5E06-4041-A114-D064F0C7B7D2}" presName="cycle" presStyleCnt="0"/>
      <dgm:spPr/>
    </dgm:pt>
    <dgm:pt modelId="{91A4A0A4-1ADF-431C-87F6-EC2760B5D758}" type="pres">
      <dgm:prSet presAssocID="{B74C20E7-5E06-4041-A114-D064F0C7B7D2}" presName="srcNode" presStyleLbl="node1" presStyleIdx="0" presStyleCnt="2"/>
      <dgm:spPr/>
    </dgm:pt>
    <dgm:pt modelId="{A83B91E1-8777-4DA6-85FE-E8510B1EDB65}" type="pres">
      <dgm:prSet presAssocID="{B74C20E7-5E06-4041-A114-D064F0C7B7D2}" presName="conn" presStyleLbl="parChTrans1D2" presStyleIdx="0" presStyleCnt="1"/>
      <dgm:spPr/>
    </dgm:pt>
    <dgm:pt modelId="{59976569-DCEC-4B8D-AE4E-09EC02F53E02}" type="pres">
      <dgm:prSet presAssocID="{B74C20E7-5E06-4041-A114-D064F0C7B7D2}" presName="extraNode" presStyleLbl="node1" presStyleIdx="0" presStyleCnt="2"/>
      <dgm:spPr/>
    </dgm:pt>
    <dgm:pt modelId="{84D14899-434E-4E2E-BBDA-E48B24F85786}" type="pres">
      <dgm:prSet presAssocID="{B74C20E7-5E06-4041-A114-D064F0C7B7D2}" presName="dstNode" presStyleLbl="node1" presStyleIdx="0" presStyleCnt="2"/>
      <dgm:spPr/>
    </dgm:pt>
    <dgm:pt modelId="{21473942-A9FD-4CE1-AD77-2D33031EC30C}" type="pres">
      <dgm:prSet presAssocID="{A2A073F8-2814-437E-9A5D-B64D8B92BED3}" presName="text_1" presStyleLbl="node1" presStyleIdx="0" presStyleCnt="2">
        <dgm:presLayoutVars>
          <dgm:bulletEnabled val="1"/>
        </dgm:presLayoutVars>
      </dgm:prSet>
      <dgm:spPr/>
    </dgm:pt>
    <dgm:pt modelId="{DC5B7687-4B9F-44E2-8E17-C0078677C6A3}" type="pres">
      <dgm:prSet presAssocID="{A2A073F8-2814-437E-9A5D-B64D8B92BED3}" presName="accent_1" presStyleCnt="0"/>
      <dgm:spPr/>
    </dgm:pt>
    <dgm:pt modelId="{79944A4C-A3AF-436A-9B75-BC502D48CE6F}" type="pres">
      <dgm:prSet presAssocID="{A2A073F8-2814-437E-9A5D-B64D8B92BED3}" presName="accentRepeatNode" presStyleLbl="solidFgAcc1" presStyleIdx="0" presStyleCnt="2"/>
      <dgm:spPr/>
    </dgm:pt>
    <dgm:pt modelId="{9469D36A-0615-4518-B598-BD30334BDE7A}" type="pres">
      <dgm:prSet presAssocID="{E0E65DE0-5413-4534-805B-5D07F68AB4E1}" presName="text_2" presStyleLbl="node1" presStyleIdx="1" presStyleCnt="2">
        <dgm:presLayoutVars>
          <dgm:bulletEnabled val="1"/>
        </dgm:presLayoutVars>
      </dgm:prSet>
      <dgm:spPr/>
    </dgm:pt>
    <dgm:pt modelId="{B41A22F2-0630-4383-A2B1-CEEC833D8F3E}" type="pres">
      <dgm:prSet presAssocID="{E0E65DE0-5413-4534-805B-5D07F68AB4E1}" presName="accent_2" presStyleCnt="0"/>
      <dgm:spPr/>
    </dgm:pt>
    <dgm:pt modelId="{6D67AD25-BF28-4EF1-8DE1-4FFDE24E285D}" type="pres">
      <dgm:prSet presAssocID="{E0E65DE0-5413-4534-805B-5D07F68AB4E1}" presName="accentRepeatNode" presStyleLbl="solidFgAcc1" presStyleIdx="1" presStyleCnt="2"/>
      <dgm:spPr/>
    </dgm:pt>
  </dgm:ptLst>
  <dgm:cxnLst>
    <dgm:cxn modelId="{1C67D551-AEA2-432F-AB4E-4AA6F31D2B34}" type="presOf" srcId="{B74C20E7-5E06-4041-A114-D064F0C7B7D2}" destId="{AFB30241-8A72-4451-A938-9AA3261600CD}" srcOrd="0" destOrd="0" presId="urn:microsoft.com/office/officeart/2008/layout/VerticalCurvedList"/>
    <dgm:cxn modelId="{3FBA0EA8-555F-4E12-A966-1FB55346FC45}" type="presOf" srcId="{A2A073F8-2814-437E-9A5D-B64D8B92BED3}" destId="{21473942-A9FD-4CE1-AD77-2D33031EC30C}" srcOrd="0" destOrd="0" presId="urn:microsoft.com/office/officeart/2008/layout/VerticalCurvedList"/>
    <dgm:cxn modelId="{C6AF42BD-66AB-4997-BB9D-B0ED791D564D}" srcId="{B74C20E7-5E06-4041-A114-D064F0C7B7D2}" destId="{A2A073F8-2814-437E-9A5D-B64D8B92BED3}" srcOrd="0" destOrd="0" parTransId="{BE1F7340-7DB4-419C-BD82-F044830F1D57}" sibTransId="{A74CF712-EBE4-4773-9044-1EBD1F84D67B}"/>
    <dgm:cxn modelId="{B2DDA0D6-5370-4103-8258-925A9D781E77}" type="presOf" srcId="{A74CF712-EBE4-4773-9044-1EBD1F84D67B}" destId="{A83B91E1-8777-4DA6-85FE-E8510B1EDB65}" srcOrd="0" destOrd="0" presId="urn:microsoft.com/office/officeart/2008/layout/VerticalCurvedList"/>
    <dgm:cxn modelId="{447F04DD-18AD-48B2-999A-6BB7395D71B9}" type="presOf" srcId="{E0E65DE0-5413-4534-805B-5D07F68AB4E1}" destId="{9469D36A-0615-4518-B598-BD30334BDE7A}" srcOrd="0" destOrd="0" presId="urn:microsoft.com/office/officeart/2008/layout/VerticalCurvedList"/>
    <dgm:cxn modelId="{918791EE-E49D-4894-9DDF-5013109867AA}" srcId="{B74C20E7-5E06-4041-A114-D064F0C7B7D2}" destId="{E0E65DE0-5413-4534-805B-5D07F68AB4E1}" srcOrd="1" destOrd="0" parTransId="{915E1D64-25B1-4B78-951F-DCA1F0AAA796}" sibTransId="{F2057D1E-531D-48CB-918C-20290274B46E}"/>
    <dgm:cxn modelId="{B30510BB-18B8-4437-A268-2AA02CD59F4E}" type="presParOf" srcId="{AFB30241-8A72-4451-A938-9AA3261600CD}" destId="{511DE5CC-0574-4111-A542-33CE295C53DC}" srcOrd="0" destOrd="0" presId="urn:microsoft.com/office/officeart/2008/layout/VerticalCurvedList"/>
    <dgm:cxn modelId="{B99DDA08-ECC6-4B0B-8D01-41716141ABD0}" type="presParOf" srcId="{511DE5CC-0574-4111-A542-33CE295C53DC}" destId="{FD3B2AA6-5DF7-4F98-A2B7-C0504EDC54F2}" srcOrd="0" destOrd="0" presId="urn:microsoft.com/office/officeart/2008/layout/VerticalCurvedList"/>
    <dgm:cxn modelId="{050C78BC-A503-455C-9AC2-0C8515A9F7A0}" type="presParOf" srcId="{FD3B2AA6-5DF7-4F98-A2B7-C0504EDC54F2}" destId="{91A4A0A4-1ADF-431C-87F6-EC2760B5D758}" srcOrd="0" destOrd="0" presId="urn:microsoft.com/office/officeart/2008/layout/VerticalCurvedList"/>
    <dgm:cxn modelId="{B2E09F73-E9E6-41DF-B16B-6F94C0FF3271}" type="presParOf" srcId="{FD3B2AA6-5DF7-4F98-A2B7-C0504EDC54F2}" destId="{A83B91E1-8777-4DA6-85FE-E8510B1EDB65}" srcOrd="1" destOrd="0" presId="urn:microsoft.com/office/officeart/2008/layout/VerticalCurvedList"/>
    <dgm:cxn modelId="{13339536-A6B0-4E5B-B8CE-315477090101}" type="presParOf" srcId="{FD3B2AA6-5DF7-4F98-A2B7-C0504EDC54F2}" destId="{59976569-DCEC-4B8D-AE4E-09EC02F53E02}" srcOrd="2" destOrd="0" presId="urn:microsoft.com/office/officeart/2008/layout/VerticalCurvedList"/>
    <dgm:cxn modelId="{CB4EC177-4180-4D78-ABF0-1EE8CF4F8BB9}" type="presParOf" srcId="{FD3B2AA6-5DF7-4F98-A2B7-C0504EDC54F2}" destId="{84D14899-434E-4E2E-BBDA-E48B24F85786}" srcOrd="3" destOrd="0" presId="urn:microsoft.com/office/officeart/2008/layout/VerticalCurvedList"/>
    <dgm:cxn modelId="{A21A55AC-DED3-459D-A341-43FD74CDB21E}" type="presParOf" srcId="{511DE5CC-0574-4111-A542-33CE295C53DC}" destId="{21473942-A9FD-4CE1-AD77-2D33031EC30C}" srcOrd="1" destOrd="0" presId="urn:microsoft.com/office/officeart/2008/layout/VerticalCurvedList"/>
    <dgm:cxn modelId="{4BB80278-5DC7-441A-A99B-DF56C3238A36}" type="presParOf" srcId="{511DE5CC-0574-4111-A542-33CE295C53DC}" destId="{DC5B7687-4B9F-44E2-8E17-C0078677C6A3}" srcOrd="2" destOrd="0" presId="urn:microsoft.com/office/officeart/2008/layout/VerticalCurvedList"/>
    <dgm:cxn modelId="{8D18688C-F4BF-43FE-9DF1-587FFE2EF46C}" type="presParOf" srcId="{DC5B7687-4B9F-44E2-8E17-C0078677C6A3}" destId="{79944A4C-A3AF-436A-9B75-BC502D48CE6F}" srcOrd="0" destOrd="0" presId="urn:microsoft.com/office/officeart/2008/layout/VerticalCurvedList"/>
    <dgm:cxn modelId="{2DF15978-82BD-4766-BB07-07803A9E83B8}" type="presParOf" srcId="{511DE5CC-0574-4111-A542-33CE295C53DC}" destId="{9469D36A-0615-4518-B598-BD30334BDE7A}" srcOrd="3" destOrd="0" presId="urn:microsoft.com/office/officeart/2008/layout/VerticalCurvedList"/>
    <dgm:cxn modelId="{CBCAD077-9081-4E32-A1E7-9B435428DE13}" type="presParOf" srcId="{511DE5CC-0574-4111-A542-33CE295C53DC}" destId="{B41A22F2-0630-4383-A2B1-CEEC833D8F3E}" srcOrd="4" destOrd="0" presId="urn:microsoft.com/office/officeart/2008/layout/VerticalCurvedList"/>
    <dgm:cxn modelId="{D538E055-E6BF-4CE6-BDD5-23A7374D6869}" type="presParOf" srcId="{B41A22F2-0630-4383-A2B1-CEEC833D8F3E}" destId="{6D67AD25-BF28-4EF1-8DE1-4FFDE24E285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D84CB06-3BE9-4A3A-95F4-5362F5E3B447}" type="doc">
      <dgm:prSet loTypeId="urn:microsoft.com/office/officeart/2005/8/layout/equation1" loCatId="process" qsTypeId="urn:microsoft.com/office/officeart/2005/8/quickstyle/simple1" qsCatId="simple" csTypeId="urn:microsoft.com/office/officeart/2005/8/colors/colorful5" csCatId="colorful" phldr="1"/>
      <dgm:spPr/>
    </dgm:pt>
    <dgm:pt modelId="{F990CC3F-E021-4A9F-A548-26DBB3D72470}">
      <dgm:prSet phldrT="[Text]"/>
      <dgm:spPr/>
      <dgm:t>
        <a:bodyPr/>
        <a:lstStyle/>
        <a:p>
          <a:r>
            <a:rPr lang="de-DE" dirty="0"/>
            <a:t>beide LKs</a:t>
          </a:r>
        </a:p>
      </dgm:t>
    </dgm:pt>
    <dgm:pt modelId="{D269344A-845F-4481-A9B0-5523AA9BD694}" type="parTrans" cxnId="{D08C0109-43BA-4130-A3C7-E2E96056233D}">
      <dgm:prSet/>
      <dgm:spPr/>
      <dgm:t>
        <a:bodyPr/>
        <a:lstStyle/>
        <a:p>
          <a:endParaRPr lang="de-DE"/>
        </a:p>
      </dgm:t>
    </dgm:pt>
    <dgm:pt modelId="{A7E8D2B5-21B6-4143-8077-727C698A4882}" type="sibTrans" cxnId="{D08C0109-43BA-4130-A3C7-E2E96056233D}">
      <dgm:prSet/>
      <dgm:spPr/>
      <dgm:t>
        <a:bodyPr/>
        <a:lstStyle/>
        <a:p>
          <a:endParaRPr lang="de-DE"/>
        </a:p>
      </dgm:t>
    </dgm:pt>
    <dgm:pt modelId="{E129B8F1-3162-44E1-9FFA-81352E383803}">
      <dgm:prSet phldrT="[Text]"/>
      <dgm:spPr/>
      <dgm:t>
        <a:bodyPr/>
        <a:lstStyle/>
        <a:p>
          <a:r>
            <a:rPr lang="de-DE" dirty="0"/>
            <a:t>2 GKs</a:t>
          </a:r>
        </a:p>
      </dgm:t>
    </dgm:pt>
    <dgm:pt modelId="{83D22200-5B53-4214-A403-D197B243BA9D}" type="parTrans" cxnId="{65515EB8-EF37-44F2-A391-C01AAC2CC56A}">
      <dgm:prSet/>
      <dgm:spPr/>
      <dgm:t>
        <a:bodyPr/>
        <a:lstStyle/>
        <a:p>
          <a:endParaRPr lang="de-DE"/>
        </a:p>
      </dgm:t>
    </dgm:pt>
    <dgm:pt modelId="{029D130C-F5D7-4640-9989-7A7AFAAC71E2}" type="sibTrans" cxnId="{65515EB8-EF37-44F2-A391-C01AAC2CC56A}">
      <dgm:prSet/>
      <dgm:spPr/>
      <dgm:t>
        <a:bodyPr/>
        <a:lstStyle/>
        <a:p>
          <a:endParaRPr lang="de-DE"/>
        </a:p>
      </dgm:t>
    </dgm:pt>
    <dgm:pt modelId="{A5626252-4F77-4DEC-8606-067A9C1075DB}">
      <dgm:prSet phldrT="[Text]"/>
      <dgm:spPr/>
      <dgm:t>
        <a:bodyPr/>
        <a:lstStyle/>
        <a:p>
          <a:r>
            <a:rPr lang="de-DE" dirty="0"/>
            <a:t>Abitur-prüfung</a:t>
          </a:r>
        </a:p>
      </dgm:t>
    </dgm:pt>
    <dgm:pt modelId="{B09C955D-9163-480B-9900-3D16FD7C42A0}" type="parTrans" cxnId="{5B6337ED-B3C7-4909-BADD-B521E8E8194E}">
      <dgm:prSet/>
      <dgm:spPr/>
      <dgm:t>
        <a:bodyPr/>
        <a:lstStyle/>
        <a:p>
          <a:endParaRPr lang="de-DE"/>
        </a:p>
      </dgm:t>
    </dgm:pt>
    <dgm:pt modelId="{66FCC67D-A37F-4BB6-B86B-ACDE5F9C97C1}" type="sibTrans" cxnId="{5B6337ED-B3C7-4909-BADD-B521E8E8194E}">
      <dgm:prSet/>
      <dgm:spPr/>
      <dgm:t>
        <a:bodyPr/>
        <a:lstStyle/>
        <a:p>
          <a:endParaRPr lang="de-DE"/>
        </a:p>
      </dgm:t>
    </dgm:pt>
    <dgm:pt modelId="{A65DFA08-B840-42F5-9AF1-FC53A090E0C1}" type="pres">
      <dgm:prSet presAssocID="{CD84CB06-3BE9-4A3A-95F4-5362F5E3B447}" presName="linearFlow" presStyleCnt="0">
        <dgm:presLayoutVars>
          <dgm:dir/>
          <dgm:resizeHandles val="exact"/>
        </dgm:presLayoutVars>
      </dgm:prSet>
      <dgm:spPr/>
    </dgm:pt>
    <dgm:pt modelId="{477E32E6-8F10-4315-8357-B60FC5FCAD94}" type="pres">
      <dgm:prSet presAssocID="{F990CC3F-E021-4A9F-A548-26DBB3D72470}" presName="node" presStyleLbl="node1" presStyleIdx="0" presStyleCnt="3">
        <dgm:presLayoutVars>
          <dgm:bulletEnabled val="1"/>
        </dgm:presLayoutVars>
      </dgm:prSet>
      <dgm:spPr/>
    </dgm:pt>
    <dgm:pt modelId="{98E75446-2018-4B4A-86A1-C0A9B66DE229}" type="pres">
      <dgm:prSet presAssocID="{A7E8D2B5-21B6-4143-8077-727C698A4882}" presName="spacerL" presStyleCnt="0"/>
      <dgm:spPr/>
    </dgm:pt>
    <dgm:pt modelId="{0FC156D7-EA31-4B1A-8801-60314CBB2F7F}" type="pres">
      <dgm:prSet presAssocID="{A7E8D2B5-21B6-4143-8077-727C698A4882}" presName="sibTrans" presStyleLbl="sibTrans2D1" presStyleIdx="0" presStyleCnt="2"/>
      <dgm:spPr/>
    </dgm:pt>
    <dgm:pt modelId="{09E1C5BA-81C3-4E0D-891D-2D63CC51BCCE}" type="pres">
      <dgm:prSet presAssocID="{A7E8D2B5-21B6-4143-8077-727C698A4882}" presName="spacerR" presStyleCnt="0"/>
      <dgm:spPr/>
    </dgm:pt>
    <dgm:pt modelId="{064D34D6-59B0-400D-8AA3-2E3A67D04B53}" type="pres">
      <dgm:prSet presAssocID="{E129B8F1-3162-44E1-9FFA-81352E383803}" presName="node" presStyleLbl="node1" presStyleIdx="1" presStyleCnt="3">
        <dgm:presLayoutVars>
          <dgm:bulletEnabled val="1"/>
        </dgm:presLayoutVars>
      </dgm:prSet>
      <dgm:spPr/>
    </dgm:pt>
    <dgm:pt modelId="{7591F0F1-3087-4932-AFA0-33A569E6D22B}" type="pres">
      <dgm:prSet presAssocID="{029D130C-F5D7-4640-9989-7A7AFAAC71E2}" presName="spacerL" presStyleCnt="0"/>
      <dgm:spPr/>
    </dgm:pt>
    <dgm:pt modelId="{9B0920F0-CD87-4AEC-97D5-F2306C05D136}" type="pres">
      <dgm:prSet presAssocID="{029D130C-F5D7-4640-9989-7A7AFAAC71E2}" presName="sibTrans" presStyleLbl="sibTrans2D1" presStyleIdx="1" presStyleCnt="2"/>
      <dgm:spPr/>
    </dgm:pt>
    <dgm:pt modelId="{18635C0E-C103-44F1-B110-728B8F8214A9}" type="pres">
      <dgm:prSet presAssocID="{029D130C-F5D7-4640-9989-7A7AFAAC71E2}" presName="spacerR" presStyleCnt="0"/>
      <dgm:spPr/>
    </dgm:pt>
    <dgm:pt modelId="{B2C0CFE1-D0CA-4B27-9CED-06934E8CC8BC}" type="pres">
      <dgm:prSet presAssocID="{A5626252-4F77-4DEC-8606-067A9C1075DB}" presName="node" presStyleLbl="node1" presStyleIdx="2" presStyleCnt="3">
        <dgm:presLayoutVars>
          <dgm:bulletEnabled val="1"/>
        </dgm:presLayoutVars>
      </dgm:prSet>
      <dgm:spPr/>
    </dgm:pt>
  </dgm:ptLst>
  <dgm:cxnLst>
    <dgm:cxn modelId="{BF5B7905-A002-4C27-9595-102D0EDF3D6A}" type="presOf" srcId="{E129B8F1-3162-44E1-9FFA-81352E383803}" destId="{064D34D6-59B0-400D-8AA3-2E3A67D04B53}" srcOrd="0" destOrd="0" presId="urn:microsoft.com/office/officeart/2005/8/layout/equation1"/>
    <dgm:cxn modelId="{D08C0109-43BA-4130-A3C7-E2E96056233D}" srcId="{CD84CB06-3BE9-4A3A-95F4-5362F5E3B447}" destId="{F990CC3F-E021-4A9F-A548-26DBB3D72470}" srcOrd="0" destOrd="0" parTransId="{D269344A-845F-4481-A9B0-5523AA9BD694}" sibTransId="{A7E8D2B5-21B6-4143-8077-727C698A4882}"/>
    <dgm:cxn modelId="{2E0FED11-3CE5-4474-9CA4-D032A4889AEB}" type="presOf" srcId="{F990CC3F-E021-4A9F-A548-26DBB3D72470}" destId="{477E32E6-8F10-4315-8357-B60FC5FCAD94}" srcOrd="0" destOrd="0" presId="urn:microsoft.com/office/officeart/2005/8/layout/equation1"/>
    <dgm:cxn modelId="{1910ED39-5E96-436B-9CC4-FE5B7354717D}" type="presOf" srcId="{A7E8D2B5-21B6-4143-8077-727C698A4882}" destId="{0FC156D7-EA31-4B1A-8801-60314CBB2F7F}" srcOrd="0" destOrd="0" presId="urn:microsoft.com/office/officeart/2005/8/layout/equation1"/>
    <dgm:cxn modelId="{C57FB150-31E0-43EB-9224-A379A4EF48EC}" type="presOf" srcId="{029D130C-F5D7-4640-9989-7A7AFAAC71E2}" destId="{9B0920F0-CD87-4AEC-97D5-F2306C05D136}" srcOrd="0" destOrd="0" presId="urn:microsoft.com/office/officeart/2005/8/layout/equation1"/>
    <dgm:cxn modelId="{B5B34C92-6606-4832-A3DF-28677C2B1B86}" type="presOf" srcId="{CD84CB06-3BE9-4A3A-95F4-5362F5E3B447}" destId="{A65DFA08-B840-42F5-9AF1-FC53A090E0C1}" srcOrd="0" destOrd="0" presId="urn:microsoft.com/office/officeart/2005/8/layout/equation1"/>
    <dgm:cxn modelId="{B6BD8CA6-7572-4793-B86D-402704433138}" type="presOf" srcId="{A5626252-4F77-4DEC-8606-067A9C1075DB}" destId="{B2C0CFE1-D0CA-4B27-9CED-06934E8CC8BC}" srcOrd="0" destOrd="0" presId="urn:microsoft.com/office/officeart/2005/8/layout/equation1"/>
    <dgm:cxn modelId="{65515EB8-EF37-44F2-A391-C01AAC2CC56A}" srcId="{CD84CB06-3BE9-4A3A-95F4-5362F5E3B447}" destId="{E129B8F1-3162-44E1-9FFA-81352E383803}" srcOrd="1" destOrd="0" parTransId="{83D22200-5B53-4214-A403-D197B243BA9D}" sibTransId="{029D130C-F5D7-4640-9989-7A7AFAAC71E2}"/>
    <dgm:cxn modelId="{5B6337ED-B3C7-4909-BADD-B521E8E8194E}" srcId="{CD84CB06-3BE9-4A3A-95F4-5362F5E3B447}" destId="{A5626252-4F77-4DEC-8606-067A9C1075DB}" srcOrd="2" destOrd="0" parTransId="{B09C955D-9163-480B-9900-3D16FD7C42A0}" sibTransId="{66FCC67D-A37F-4BB6-B86B-ACDE5F9C97C1}"/>
    <dgm:cxn modelId="{6EE740EC-92B7-4B59-9F12-3E6929896A2B}" type="presParOf" srcId="{A65DFA08-B840-42F5-9AF1-FC53A090E0C1}" destId="{477E32E6-8F10-4315-8357-B60FC5FCAD94}" srcOrd="0" destOrd="0" presId="urn:microsoft.com/office/officeart/2005/8/layout/equation1"/>
    <dgm:cxn modelId="{CD3C7E1A-2ADF-45D1-BD4A-7345B9340EC0}" type="presParOf" srcId="{A65DFA08-B840-42F5-9AF1-FC53A090E0C1}" destId="{98E75446-2018-4B4A-86A1-C0A9B66DE229}" srcOrd="1" destOrd="0" presId="urn:microsoft.com/office/officeart/2005/8/layout/equation1"/>
    <dgm:cxn modelId="{D103B0F4-32D3-4520-8FDB-24D8F63649A1}" type="presParOf" srcId="{A65DFA08-B840-42F5-9AF1-FC53A090E0C1}" destId="{0FC156D7-EA31-4B1A-8801-60314CBB2F7F}" srcOrd="2" destOrd="0" presId="urn:microsoft.com/office/officeart/2005/8/layout/equation1"/>
    <dgm:cxn modelId="{AA30B6E9-8478-441E-A1CE-A5030CDA02DB}" type="presParOf" srcId="{A65DFA08-B840-42F5-9AF1-FC53A090E0C1}" destId="{09E1C5BA-81C3-4E0D-891D-2D63CC51BCCE}" srcOrd="3" destOrd="0" presId="urn:microsoft.com/office/officeart/2005/8/layout/equation1"/>
    <dgm:cxn modelId="{22C1B676-E78B-4F3F-B5DB-E72CAE4CDC9B}" type="presParOf" srcId="{A65DFA08-B840-42F5-9AF1-FC53A090E0C1}" destId="{064D34D6-59B0-400D-8AA3-2E3A67D04B53}" srcOrd="4" destOrd="0" presId="urn:microsoft.com/office/officeart/2005/8/layout/equation1"/>
    <dgm:cxn modelId="{F8C1D431-63BA-419A-A494-6F479BF353C8}" type="presParOf" srcId="{A65DFA08-B840-42F5-9AF1-FC53A090E0C1}" destId="{7591F0F1-3087-4932-AFA0-33A569E6D22B}" srcOrd="5" destOrd="0" presId="urn:microsoft.com/office/officeart/2005/8/layout/equation1"/>
    <dgm:cxn modelId="{0DD9E7D2-72F2-4D7A-B3CF-F5C55A7579DB}" type="presParOf" srcId="{A65DFA08-B840-42F5-9AF1-FC53A090E0C1}" destId="{9B0920F0-CD87-4AEC-97D5-F2306C05D136}" srcOrd="6" destOrd="0" presId="urn:microsoft.com/office/officeart/2005/8/layout/equation1"/>
    <dgm:cxn modelId="{1051598D-6507-4C1B-B17B-A5689A24E911}" type="presParOf" srcId="{A65DFA08-B840-42F5-9AF1-FC53A090E0C1}" destId="{18635C0E-C103-44F1-B110-728B8F8214A9}" srcOrd="7" destOrd="0" presId="urn:microsoft.com/office/officeart/2005/8/layout/equation1"/>
    <dgm:cxn modelId="{F4D7AB1D-3145-4FF1-ACF1-D0FCBF2B57A0}" type="presParOf" srcId="{A65DFA08-B840-42F5-9AF1-FC53A090E0C1}" destId="{B2C0CFE1-D0CA-4B27-9CED-06934E8CC8BC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11160F-C91A-4F28-8D70-955FD23B32BF}">
      <dsp:nvSpPr>
        <dsp:cNvPr id="0" name=""/>
        <dsp:cNvSpPr/>
      </dsp:nvSpPr>
      <dsp:spPr>
        <a:xfrm>
          <a:off x="4737428" y="2141806"/>
          <a:ext cx="2044042" cy="2044042"/>
        </a:xfrm>
        <a:prstGeom prst="ellipse">
          <a:avLst/>
        </a:prstGeom>
        <a:solidFill>
          <a:srgbClr val="E6000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+mn-lt"/>
            </a:rPr>
            <a:t>Oberstufe der Gesamtschule Eiserfeld</a:t>
          </a:r>
        </a:p>
      </dsp:txBody>
      <dsp:txXfrm>
        <a:off x="5036771" y="2441149"/>
        <a:ext cx="1445356" cy="1445356"/>
      </dsp:txXfrm>
    </dsp:sp>
    <dsp:sp modelId="{80830EB2-FD98-4CC0-87BC-CA2DF75F1B55}">
      <dsp:nvSpPr>
        <dsp:cNvPr id="0" name=""/>
        <dsp:cNvSpPr/>
      </dsp:nvSpPr>
      <dsp:spPr>
        <a:xfrm rot="11700000">
          <a:off x="3189802" y="2388031"/>
          <a:ext cx="1522786" cy="582552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DA157A-457B-449C-AC8C-591E70CF3FA4}">
      <dsp:nvSpPr>
        <dsp:cNvPr id="0" name=""/>
        <dsp:cNvSpPr/>
      </dsp:nvSpPr>
      <dsp:spPr>
        <a:xfrm>
          <a:off x="2244826" y="1705508"/>
          <a:ext cx="1941840" cy="1553472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815" tIns="43815" rIns="43815" bIns="4381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>
              <a:solidFill>
                <a:schemeClr val="tx1"/>
              </a:solidFill>
              <a:latin typeface="Arial"/>
              <a:ea typeface="+mn-ea"/>
              <a:cs typeface="+mn-cs"/>
            </a:rPr>
            <a:t>Oberstufe </a:t>
          </a:r>
          <a:br>
            <a:rPr lang="de-DE" sz="1600" kern="1200">
              <a:solidFill>
                <a:schemeClr val="tx1"/>
              </a:solidFill>
              <a:latin typeface="Arial"/>
              <a:ea typeface="+mn-ea"/>
              <a:cs typeface="+mn-cs"/>
            </a:rPr>
          </a:br>
          <a:r>
            <a:rPr lang="de-DE" sz="1600" kern="1200">
              <a:solidFill>
                <a:schemeClr val="tx1"/>
              </a:solidFill>
              <a:latin typeface="Arial"/>
              <a:ea typeface="+mn-ea"/>
              <a:cs typeface="+mn-cs"/>
            </a:rPr>
            <a:t>seit 1995</a:t>
          </a:r>
          <a:endParaRPr lang="de-DE" sz="1600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sp:txBody>
      <dsp:txXfrm>
        <a:off x="2290326" y="1751008"/>
        <a:ext cx="1850840" cy="1462472"/>
      </dsp:txXfrm>
    </dsp:sp>
    <dsp:sp modelId="{F806C0AC-F36F-4190-B867-0053219FB0E4}">
      <dsp:nvSpPr>
        <dsp:cNvPr id="0" name=""/>
        <dsp:cNvSpPr/>
      </dsp:nvSpPr>
      <dsp:spPr>
        <a:xfrm rot="14700000">
          <a:off x="4206897" y="1175905"/>
          <a:ext cx="1522786" cy="582552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FE76CF-03D1-4028-AD78-48B752A2D260}">
      <dsp:nvSpPr>
        <dsp:cNvPr id="0" name=""/>
        <dsp:cNvSpPr/>
      </dsp:nvSpPr>
      <dsp:spPr>
        <a:xfrm>
          <a:off x="3675592" y="388"/>
          <a:ext cx="1941840" cy="1553472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  <a:latin typeface="+mn-lt"/>
            </a:rPr>
            <a:t>Größte Oberstufe unter den städt. Schulen der Stadt Siegen</a:t>
          </a:r>
        </a:p>
      </dsp:txBody>
      <dsp:txXfrm>
        <a:off x="3721092" y="45888"/>
        <a:ext cx="1850840" cy="1462472"/>
      </dsp:txXfrm>
    </dsp:sp>
    <dsp:sp modelId="{52B989BE-CB84-4431-984C-32DEDACB056E}">
      <dsp:nvSpPr>
        <dsp:cNvPr id="0" name=""/>
        <dsp:cNvSpPr/>
      </dsp:nvSpPr>
      <dsp:spPr>
        <a:xfrm rot="17700000">
          <a:off x="5789215" y="1175905"/>
          <a:ext cx="1522786" cy="582552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AD4AE1-4103-4A3F-9728-D94E47B3AC08}">
      <dsp:nvSpPr>
        <dsp:cNvPr id="0" name=""/>
        <dsp:cNvSpPr/>
      </dsp:nvSpPr>
      <dsp:spPr>
        <a:xfrm>
          <a:off x="5901467" y="388"/>
          <a:ext cx="1941840" cy="1553472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  <a:latin typeface="+mn-lt"/>
            </a:rPr>
            <a:t>Großes und vielfältiges Leistungskurs-angebot</a:t>
          </a:r>
        </a:p>
      </dsp:txBody>
      <dsp:txXfrm>
        <a:off x="5946967" y="45888"/>
        <a:ext cx="1850840" cy="1462472"/>
      </dsp:txXfrm>
    </dsp:sp>
    <dsp:sp modelId="{DBFE8C11-50CC-4D22-94AC-34B5A4CF2018}">
      <dsp:nvSpPr>
        <dsp:cNvPr id="0" name=""/>
        <dsp:cNvSpPr/>
      </dsp:nvSpPr>
      <dsp:spPr>
        <a:xfrm rot="20700000">
          <a:off x="6806310" y="2388031"/>
          <a:ext cx="1522786" cy="582552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A78187-0F82-44C0-B70D-DFF4DAD2A225}">
      <dsp:nvSpPr>
        <dsp:cNvPr id="0" name=""/>
        <dsp:cNvSpPr/>
      </dsp:nvSpPr>
      <dsp:spPr>
        <a:xfrm>
          <a:off x="7332233" y="1705508"/>
          <a:ext cx="1941840" cy="1553472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  <a:latin typeface="+mn-lt"/>
            </a:rPr>
            <a:t>Nur wenige Seiteneinsteiger müssen abgelehnt werden</a:t>
          </a:r>
        </a:p>
      </dsp:txBody>
      <dsp:txXfrm>
        <a:off x="7377733" y="1751008"/>
        <a:ext cx="1850840" cy="14624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051A49-0081-435B-8156-2CC648E55D90}">
      <dsp:nvSpPr>
        <dsp:cNvPr id="0" name=""/>
        <dsp:cNvSpPr/>
      </dsp:nvSpPr>
      <dsp:spPr>
        <a:xfrm>
          <a:off x="0" y="0"/>
          <a:ext cx="11518900" cy="1992959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 dirty="0">
              <a:solidFill>
                <a:schemeClr val="tx1"/>
              </a:solidFill>
            </a:rPr>
            <a:t>Fachhochschulreife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600" kern="1200" dirty="0">
              <a:solidFill>
                <a:schemeClr val="tx1"/>
              </a:solidFill>
            </a:rPr>
            <a:t>Studium an einer Fachhochschule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600" kern="1200" dirty="0">
              <a:solidFill>
                <a:schemeClr val="tx1"/>
              </a:solidFill>
            </a:rPr>
            <a:t>Ausbildung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600" kern="1200" dirty="0">
              <a:solidFill>
                <a:schemeClr val="tx1"/>
              </a:solidFill>
            </a:rPr>
            <a:t>Duales Studium</a:t>
          </a:r>
        </a:p>
      </dsp:txBody>
      <dsp:txXfrm>
        <a:off x="2503075" y="0"/>
        <a:ext cx="9015824" cy="1992959"/>
      </dsp:txXfrm>
    </dsp:sp>
    <dsp:sp modelId="{67979784-9673-4355-8AE4-492388B0B08A}">
      <dsp:nvSpPr>
        <dsp:cNvPr id="0" name=""/>
        <dsp:cNvSpPr/>
      </dsp:nvSpPr>
      <dsp:spPr>
        <a:xfrm>
          <a:off x="199295" y="199295"/>
          <a:ext cx="2303780" cy="1594367"/>
        </a:xfrm>
        <a:prstGeom prst="roundRect">
          <a:avLst>
            <a:gd name="adj" fmla="val 10000"/>
          </a:avLst>
        </a:prstGeom>
        <a:solidFill>
          <a:srgbClr val="EAEFF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6215B5-7AD6-40DB-B06D-288AD88C13E2}">
      <dsp:nvSpPr>
        <dsp:cNvPr id="0" name=""/>
        <dsp:cNvSpPr/>
      </dsp:nvSpPr>
      <dsp:spPr>
        <a:xfrm>
          <a:off x="0" y="2192255"/>
          <a:ext cx="11518900" cy="1992959"/>
        </a:xfrm>
        <a:prstGeom prst="roundRect">
          <a:avLst>
            <a:gd name="adj" fmla="val 10000"/>
          </a:avLst>
        </a:prstGeom>
        <a:solidFill>
          <a:schemeClr val="accent5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t" anchorCtr="0">
          <a:noAutofit/>
        </a:bodyPr>
        <a:lstStyle/>
        <a:p>
          <a:pPr marL="0" lvl="0" indent="0" algn="l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300" kern="1200" dirty="0">
              <a:solidFill>
                <a:schemeClr val="tx1"/>
              </a:solidFill>
            </a:rPr>
            <a:t>Abitur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600" kern="1200" dirty="0">
              <a:solidFill>
                <a:schemeClr val="tx1"/>
              </a:solidFill>
            </a:rPr>
            <a:t>Studium an einer Universität oder Fachhochschule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600" kern="1200" dirty="0">
              <a:solidFill>
                <a:schemeClr val="tx1"/>
              </a:solidFill>
            </a:rPr>
            <a:t>Ausbildung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600" kern="1200" dirty="0">
              <a:solidFill>
                <a:schemeClr val="tx1"/>
              </a:solidFill>
            </a:rPr>
            <a:t>Duales Studium</a:t>
          </a:r>
        </a:p>
      </dsp:txBody>
      <dsp:txXfrm>
        <a:off x="2503075" y="2192255"/>
        <a:ext cx="9015824" cy="1992959"/>
      </dsp:txXfrm>
    </dsp:sp>
    <dsp:sp modelId="{4E6B070F-5B61-4A1E-9F6C-6E8E78DE624E}">
      <dsp:nvSpPr>
        <dsp:cNvPr id="0" name=""/>
        <dsp:cNvSpPr/>
      </dsp:nvSpPr>
      <dsp:spPr>
        <a:xfrm>
          <a:off x="199295" y="2391551"/>
          <a:ext cx="2303780" cy="1594367"/>
        </a:xfrm>
        <a:prstGeom prst="roundRect">
          <a:avLst>
            <a:gd name="adj" fmla="val 10000"/>
          </a:avLst>
        </a:prstGeom>
        <a:solidFill>
          <a:schemeClr val="accent5">
            <a:tint val="50000"/>
            <a:hueOff val="72337"/>
            <a:satOff val="-2780"/>
            <a:lumOff val="977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3402E8-AB3D-49D1-BF95-EE14F90229B7}">
      <dsp:nvSpPr>
        <dsp:cNvPr id="0" name=""/>
        <dsp:cNvSpPr/>
      </dsp:nvSpPr>
      <dsp:spPr>
        <a:xfrm>
          <a:off x="0" y="0"/>
          <a:ext cx="9791065" cy="1255871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>
              <a:solidFill>
                <a:schemeClr val="tx1"/>
              </a:solidFill>
            </a:rPr>
            <a:t>Einführungsphase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300" kern="1200" dirty="0">
              <a:solidFill>
                <a:schemeClr val="tx1"/>
              </a:solidFill>
            </a:rPr>
            <a:t>Jahrgangsstufe </a:t>
          </a:r>
          <a:r>
            <a:rPr lang="de-DE" sz="2300" i="1" kern="1200" dirty="0">
              <a:solidFill>
                <a:schemeClr val="tx1"/>
              </a:solidFill>
            </a:rPr>
            <a:t>EF</a:t>
          </a:r>
          <a:r>
            <a:rPr lang="de-DE" sz="2300" kern="1200" dirty="0">
              <a:solidFill>
                <a:schemeClr val="tx1"/>
              </a:solidFill>
            </a:rPr>
            <a:t> mit Versetzung in die Jahrgangsstufe </a:t>
          </a:r>
          <a:r>
            <a:rPr lang="de-DE" sz="2300" i="1" kern="1200" dirty="0">
              <a:solidFill>
                <a:schemeClr val="tx1"/>
              </a:solidFill>
            </a:rPr>
            <a:t>Q1</a:t>
          </a:r>
        </a:p>
      </dsp:txBody>
      <dsp:txXfrm>
        <a:off x="36783" y="36783"/>
        <a:ext cx="8435882" cy="1182305"/>
      </dsp:txXfrm>
    </dsp:sp>
    <dsp:sp modelId="{3BAD1B1D-D6AA-4B29-9D80-82576638BAE2}">
      <dsp:nvSpPr>
        <dsp:cNvPr id="0" name=""/>
        <dsp:cNvSpPr/>
      </dsp:nvSpPr>
      <dsp:spPr>
        <a:xfrm>
          <a:off x="863917" y="1465183"/>
          <a:ext cx="9791065" cy="1255871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>
              <a:solidFill>
                <a:schemeClr val="tx1"/>
              </a:solidFill>
            </a:rPr>
            <a:t>Qualifikationsphase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300" kern="1200" dirty="0">
              <a:solidFill>
                <a:schemeClr val="tx1"/>
              </a:solidFill>
            </a:rPr>
            <a:t>Jahrgangsstufen </a:t>
          </a:r>
          <a:r>
            <a:rPr lang="de-DE" sz="2300" i="1" kern="1200" dirty="0">
              <a:solidFill>
                <a:schemeClr val="tx1"/>
              </a:solidFill>
            </a:rPr>
            <a:t>Q1</a:t>
          </a:r>
          <a:r>
            <a:rPr lang="de-DE" sz="2300" kern="1200" dirty="0">
              <a:solidFill>
                <a:schemeClr val="tx1"/>
              </a:solidFill>
            </a:rPr>
            <a:t> und </a:t>
          </a:r>
          <a:r>
            <a:rPr lang="de-DE" sz="2300" i="1" kern="1200" dirty="0">
              <a:solidFill>
                <a:schemeClr val="tx1"/>
              </a:solidFill>
            </a:rPr>
            <a:t>Q2</a:t>
          </a:r>
          <a:r>
            <a:rPr lang="de-DE" sz="2300" kern="1200" dirty="0">
              <a:solidFill>
                <a:schemeClr val="tx1"/>
              </a:solidFill>
            </a:rPr>
            <a:t> mit Abiturzulassung</a:t>
          </a:r>
        </a:p>
      </dsp:txBody>
      <dsp:txXfrm>
        <a:off x="900700" y="1501966"/>
        <a:ext cx="8037265" cy="1182305"/>
      </dsp:txXfrm>
    </dsp:sp>
    <dsp:sp modelId="{07CD3453-249E-4C82-A921-57B3D5854924}">
      <dsp:nvSpPr>
        <dsp:cNvPr id="0" name=""/>
        <dsp:cNvSpPr/>
      </dsp:nvSpPr>
      <dsp:spPr>
        <a:xfrm>
          <a:off x="1727834" y="2930366"/>
          <a:ext cx="9791065" cy="1255871"/>
        </a:xfrm>
        <a:prstGeom prst="roundRect">
          <a:avLst>
            <a:gd name="adj" fmla="val 10000"/>
          </a:avLst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>
              <a:solidFill>
                <a:schemeClr val="tx1"/>
              </a:solidFill>
            </a:rPr>
            <a:t>Abitur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300" kern="1200" dirty="0">
              <a:solidFill>
                <a:schemeClr val="tx1"/>
              </a:solidFill>
            </a:rPr>
            <a:t>Abiturprüfung</a:t>
          </a:r>
        </a:p>
      </dsp:txBody>
      <dsp:txXfrm>
        <a:off x="1764617" y="2967149"/>
        <a:ext cx="8037265" cy="1182305"/>
      </dsp:txXfrm>
    </dsp:sp>
    <dsp:sp modelId="{C58D6D8C-7DB1-4713-8E0D-0451F27DB6BD}">
      <dsp:nvSpPr>
        <dsp:cNvPr id="0" name=""/>
        <dsp:cNvSpPr/>
      </dsp:nvSpPr>
      <dsp:spPr>
        <a:xfrm>
          <a:off x="8974748" y="952369"/>
          <a:ext cx="816316" cy="816316"/>
        </a:xfrm>
        <a:prstGeom prst="downArrow">
          <a:avLst>
            <a:gd name="adj1" fmla="val 55000"/>
            <a:gd name="adj2" fmla="val 45000"/>
          </a:avLst>
        </a:prstGeom>
        <a:solidFill>
          <a:srgbClr val="E60002">
            <a:alpha val="90000"/>
          </a:srgb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600" kern="1200">
            <a:solidFill>
              <a:schemeClr val="tx1"/>
            </a:solidFill>
          </a:endParaRPr>
        </a:p>
      </dsp:txBody>
      <dsp:txXfrm>
        <a:off x="9158419" y="952369"/>
        <a:ext cx="448974" cy="614278"/>
      </dsp:txXfrm>
    </dsp:sp>
    <dsp:sp modelId="{36B1BBF2-C1DC-4CDA-BDF1-ECDFA87157C3}">
      <dsp:nvSpPr>
        <dsp:cNvPr id="0" name=""/>
        <dsp:cNvSpPr/>
      </dsp:nvSpPr>
      <dsp:spPr>
        <a:xfrm>
          <a:off x="9838666" y="2409179"/>
          <a:ext cx="816316" cy="816316"/>
        </a:xfrm>
        <a:prstGeom prst="downArrow">
          <a:avLst>
            <a:gd name="adj1" fmla="val 55000"/>
            <a:gd name="adj2" fmla="val 45000"/>
          </a:avLst>
        </a:prstGeom>
        <a:solidFill>
          <a:srgbClr val="E60002">
            <a:alpha val="90000"/>
          </a:srgbClr>
        </a:solidFill>
        <a:ln w="12700" cap="flat" cmpd="sng" algn="ctr">
          <a:solidFill>
            <a:schemeClr val="accent5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600" kern="1200">
            <a:solidFill>
              <a:schemeClr val="tx1"/>
            </a:solidFill>
          </a:endParaRPr>
        </a:p>
      </dsp:txBody>
      <dsp:txXfrm>
        <a:off x="10022337" y="2409179"/>
        <a:ext cx="448974" cy="61427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3B91E1-8777-4DA6-85FE-E8510B1EDB65}">
      <dsp:nvSpPr>
        <dsp:cNvPr id="0" name=""/>
        <dsp:cNvSpPr/>
      </dsp:nvSpPr>
      <dsp:spPr>
        <a:xfrm>
          <a:off x="-3422276" y="-572675"/>
          <a:ext cx="4443466" cy="4443466"/>
        </a:xfrm>
        <a:prstGeom prst="blockArc">
          <a:avLst>
            <a:gd name="adj1" fmla="val 18900000"/>
            <a:gd name="adj2" fmla="val 2700000"/>
            <a:gd name="adj3" fmla="val 486"/>
          </a:avLst>
        </a:prstGeom>
        <a:noFill/>
        <a:ln w="127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CE5C65-C44C-4519-AF1B-259CF1FEA177}">
      <dsp:nvSpPr>
        <dsp:cNvPr id="0" name=""/>
        <dsp:cNvSpPr/>
      </dsp:nvSpPr>
      <dsp:spPr>
        <a:xfrm>
          <a:off x="994497" y="853459"/>
          <a:ext cx="6914319" cy="1591195"/>
        </a:xfrm>
        <a:prstGeom prst="rect">
          <a:avLst/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08939" tIns="121920" rIns="121920" bIns="121920" numCol="1" spcCol="1270" anchor="ctr" anchorCtr="0">
          <a:noAutofit/>
        </a:bodyPr>
        <a:lstStyle/>
        <a:p>
          <a:pPr marL="0" lvl="0" indent="0" algn="l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4800" b="0" kern="1200" dirty="0">
              <a:solidFill>
                <a:schemeClr val="tx1"/>
              </a:solidFill>
            </a:rPr>
            <a:t>ein Vertiefungsfach + weiterer Wahlkurs</a:t>
          </a:r>
        </a:p>
      </dsp:txBody>
      <dsp:txXfrm>
        <a:off x="994497" y="853459"/>
        <a:ext cx="6914319" cy="1591195"/>
      </dsp:txXfrm>
    </dsp:sp>
    <dsp:sp modelId="{D60D322D-0676-4024-A7E8-70F77A0A4329}">
      <dsp:nvSpPr>
        <dsp:cNvPr id="0" name=""/>
        <dsp:cNvSpPr/>
      </dsp:nvSpPr>
      <dsp:spPr>
        <a:xfrm>
          <a:off x="0" y="654560"/>
          <a:ext cx="1988994" cy="19889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3B91E1-8777-4DA6-85FE-E8510B1EDB65}">
      <dsp:nvSpPr>
        <dsp:cNvPr id="0" name=""/>
        <dsp:cNvSpPr/>
      </dsp:nvSpPr>
      <dsp:spPr>
        <a:xfrm>
          <a:off x="-4697598" y="-725432"/>
          <a:ext cx="5637103" cy="5637103"/>
        </a:xfrm>
        <a:prstGeom prst="blockArc">
          <a:avLst>
            <a:gd name="adj1" fmla="val 18900000"/>
            <a:gd name="adj2" fmla="val 2700000"/>
            <a:gd name="adj3" fmla="val 383"/>
          </a:avLst>
        </a:prstGeom>
        <a:noFill/>
        <a:ln w="127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473942-A9FD-4CE1-AD77-2D33031EC30C}">
      <dsp:nvSpPr>
        <dsp:cNvPr id="0" name=""/>
        <dsp:cNvSpPr/>
      </dsp:nvSpPr>
      <dsp:spPr>
        <a:xfrm>
          <a:off x="769535" y="598045"/>
          <a:ext cx="7166509" cy="1195924"/>
        </a:xfrm>
        <a:prstGeom prst="rect">
          <a:avLst/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49265" tIns="86360" rIns="86360" bIns="8636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400" kern="1200" dirty="0">
              <a:solidFill>
                <a:schemeClr val="tx1"/>
              </a:solidFill>
            </a:rPr>
            <a:t>weiteren Grundkurs	oder</a:t>
          </a:r>
        </a:p>
      </dsp:txBody>
      <dsp:txXfrm>
        <a:off x="769535" y="598045"/>
        <a:ext cx="7166509" cy="1195924"/>
      </dsp:txXfrm>
    </dsp:sp>
    <dsp:sp modelId="{79944A4C-A3AF-436A-9B75-BC502D48CE6F}">
      <dsp:nvSpPr>
        <dsp:cNvPr id="0" name=""/>
        <dsp:cNvSpPr/>
      </dsp:nvSpPr>
      <dsp:spPr>
        <a:xfrm>
          <a:off x="22082" y="448555"/>
          <a:ext cx="1494905" cy="14949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69D36A-0615-4518-B598-BD30334BDE7A}">
      <dsp:nvSpPr>
        <dsp:cNvPr id="0" name=""/>
        <dsp:cNvSpPr/>
      </dsp:nvSpPr>
      <dsp:spPr>
        <a:xfrm>
          <a:off x="769535" y="2392267"/>
          <a:ext cx="7166509" cy="1195924"/>
        </a:xfrm>
        <a:prstGeom prst="rect">
          <a:avLst/>
        </a:prstGeom>
        <a:solidFill>
          <a:srgbClr val="A4C0E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49265" tIns="86360" rIns="86360" bIns="8636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400" kern="1200" dirty="0">
              <a:solidFill>
                <a:schemeClr val="tx1"/>
              </a:solidFill>
            </a:rPr>
            <a:t>Vertiefungsfach/ Projektkurs/Facharbeit</a:t>
          </a:r>
        </a:p>
      </dsp:txBody>
      <dsp:txXfrm>
        <a:off x="769535" y="2392267"/>
        <a:ext cx="7166509" cy="1195924"/>
      </dsp:txXfrm>
    </dsp:sp>
    <dsp:sp modelId="{6D67AD25-BF28-4EF1-8DE1-4FFDE24E285D}">
      <dsp:nvSpPr>
        <dsp:cNvPr id="0" name=""/>
        <dsp:cNvSpPr/>
      </dsp:nvSpPr>
      <dsp:spPr>
        <a:xfrm>
          <a:off x="22082" y="2242777"/>
          <a:ext cx="1494905" cy="14949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E32E6-8F10-4315-8357-B60FC5FCAD94}">
      <dsp:nvSpPr>
        <dsp:cNvPr id="0" name=""/>
        <dsp:cNvSpPr/>
      </dsp:nvSpPr>
      <dsp:spPr>
        <a:xfrm>
          <a:off x="1052476" y="564"/>
          <a:ext cx="1819203" cy="1819203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beide LKs</a:t>
          </a:r>
        </a:p>
      </dsp:txBody>
      <dsp:txXfrm>
        <a:off x="1318892" y="266980"/>
        <a:ext cx="1286371" cy="1286371"/>
      </dsp:txXfrm>
    </dsp:sp>
    <dsp:sp modelId="{0FC156D7-EA31-4B1A-8801-60314CBB2F7F}">
      <dsp:nvSpPr>
        <dsp:cNvPr id="0" name=""/>
        <dsp:cNvSpPr/>
      </dsp:nvSpPr>
      <dsp:spPr>
        <a:xfrm>
          <a:off x="3019399" y="382597"/>
          <a:ext cx="1055138" cy="1055138"/>
        </a:xfrm>
        <a:prstGeom prst="mathPlus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/>
        </a:p>
      </dsp:txBody>
      <dsp:txXfrm>
        <a:off x="3159258" y="786082"/>
        <a:ext cx="775420" cy="248168"/>
      </dsp:txXfrm>
    </dsp:sp>
    <dsp:sp modelId="{064D34D6-59B0-400D-8AA3-2E3A67D04B53}">
      <dsp:nvSpPr>
        <dsp:cNvPr id="0" name=""/>
        <dsp:cNvSpPr/>
      </dsp:nvSpPr>
      <dsp:spPr>
        <a:xfrm>
          <a:off x="4222256" y="564"/>
          <a:ext cx="1819203" cy="1819203"/>
        </a:xfrm>
        <a:prstGeom prst="ellipse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2 GKs</a:t>
          </a:r>
        </a:p>
      </dsp:txBody>
      <dsp:txXfrm>
        <a:off x="4488672" y="266980"/>
        <a:ext cx="1286371" cy="1286371"/>
      </dsp:txXfrm>
    </dsp:sp>
    <dsp:sp modelId="{9B0920F0-CD87-4AEC-97D5-F2306C05D136}">
      <dsp:nvSpPr>
        <dsp:cNvPr id="0" name=""/>
        <dsp:cNvSpPr/>
      </dsp:nvSpPr>
      <dsp:spPr>
        <a:xfrm>
          <a:off x="6189179" y="382597"/>
          <a:ext cx="1055138" cy="1055138"/>
        </a:xfrm>
        <a:prstGeom prst="mathEqual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000" kern="1200"/>
        </a:p>
      </dsp:txBody>
      <dsp:txXfrm>
        <a:off x="6329038" y="599955"/>
        <a:ext cx="775420" cy="620422"/>
      </dsp:txXfrm>
    </dsp:sp>
    <dsp:sp modelId="{B2C0CFE1-D0CA-4B27-9CED-06934E8CC8BC}">
      <dsp:nvSpPr>
        <dsp:cNvPr id="0" name=""/>
        <dsp:cNvSpPr/>
      </dsp:nvSpPr>
      <dsp:spPr>
        <a:xfrm>
          <a:off x="7392037" y="564"/>
          <a:ext cx="1819203" cy="1819203"/>
        </a:xfrm>
        <a:prstGeom prst="ellipse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Abitur-prüfung</a:t>
          </a:r>
        </a:p>
      </dsp:txBody>
      <dsp:txXfrm>
        <a:off x="7658453" y="266980"/>
        <a:ext cx="1286371" cy="12863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6C93C6-96BB-4A36-96E4-222D2CB80148}" type="datetimeFigureOut">
              <a:rPr lang="de-DE" smtClean="0"/>
              <a:t>01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902B8D-4A62-497F-86C3-6AE655B05CF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5918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2879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B546A7D-8B66-4E81-BFCB-F770FE857F6F}" type="slidenum">
              <a:rPr kumimoji="0" lang="de-DE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72879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49510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1A2D4D-3B8B-47B7-BA7F-1349CEF11317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7537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A4B6DCC-D6CF-4C43-B23C-F289CADE5D0B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9563" y="868363"/>
            <a:ext cx="6176962" cy="3475037"/>
          </a:xfrm>
          <a:ln cap="flat"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DE" dirty="0"/>
              <a:t>All das,</a:t>
            </a:r>
            <a:r>
              <a:rPr lang="de-DE" baseline="0" dirty="0"/>
              <a:t> was Herr Wagner erläutert hat gilt für alle Oberstufen in NRW.</a:t>
            </a:r>
          </a:p>
          <a:p>
            <a:pPr eaLnBrk="1" hangingPunct="1"/>
            <a:r>
              <a:rPr lang="de-DE" baseline="0" dirty="0"/>
              <a:t>Warum solltet Ihr liebe </a:t>
            </a:r>
            <a:r>
              <a:rPr lang="de-DE" baseline="0" dirty="0" err="1"/>
              <a:t>SuS</a:t>
            </a:r>
            <a:r>
              <a:rPr lang="de-DE" baseline="0" dirty="0"/>
              <a:t> bzw. Sie liebe Eltern sich gerade für die GEE entscheiden.</a:t>
            </a:r>
          </a:p>
          <a:p>
            <a:pPr eaLnBrk="1" hangingPunct="1"/>
            <a:endParaRPr lang="de-DE" baseline="0" dirty="0"/>
          </a:p>
          <a:p>
            <a:pPr eaLnBrk="1" hangingPunct="1"/>
            <a:r>
              <a:rPr lang="de-DE" b="1" i="0" u="sng" baseline="0" dirty="0"/>
              <a:t>Schule mit Tradition</a:t>
            </a:r>
          </a:p>
          <a:p>
            <a:pPr eaLnBrk="1" hangingPunct="1"/>
            <a:r>
              <a:rPr lang="de-DE" b="0" i="0" baseline="0" dirty="0"/>
              <a:t>Die GEE feiert im nächsten Jahr ihr 25-jähriges Bestehen und kann somit auf eine großen Erfahrungsschatz zurückblicken.</a:t>
            </a:r>
          </a:p>
          <a:p>
            <a:pPr eaLnBrk="1" hangingPunct="1"/>
            <a:r>
              <a:rPr lang="de-DE" b="0" i="0" baseline="0" dirty="0"/>
              <a:t>Das heißt jedoch nicht, dass wir auf Gedeih und Verderb an alten Zöpfen festhalten und uns jedem Fortschritt verweigern; nicht umsonst findet man in unsere Logo das Motto „Schule in Bewegung“.</a:t>
            </a:r>
          </a:p>
          <a:p>
            <a:pPr eaLnBrk="1" hangingPunct="1"/>
            <a:r>
              <a:rPr lang="de-DE" b="0" i="0" baseline="0" dirty="0"/>
              <a:t>Wir sind immer offen für Innovationen, die uns und unsere </a:t>
            </a:r>
            <a:r>
              <a:rPr lang="de-DE" b="0" i="0" baseline="0" dirty="0" err="1"/>
              <a:t>SuS</a:t>
            </a:r>
            <a:r>
              <a:rPr lang="de-DE" b="0" i="0" baseline="0" dirty="0"/>
              <a:t> voranbringt. So haben wir als es um die Erweiterung unserer Schule ging erst nach reiflicher Überlegung zugestimmt, weil wir erst geprüft haben, ob wesentliche Konzepte unseres </a:t>
            </a:r>
            <a:r>
              <a:rPr lang="de-DE" b="0" i="0" baseline="0" dirty="0" err="1"/>
              <a:t>schul</a:t>
            </a:r>
            <a:r>
              <a:rPr lang="de-DE" b="0" i="0" baseline="0" dirty="0"/>
              <a:t>. Miteinanders auch dann noch erhalten bleiben.</a:t>
            </a:r>
          </a:p>
          <a:p>
            <a:pPr eaLnBrk="1" hangingPunct="1"/>
            <a:endParaRPr lang="de-DE" b="0" i="0" baseline="0" dirty="0"/>
          </a:p>
          <a:p>
            <a:pPr eaLnBrk="1" hangingPunct="1"/>
            <a:r>
              <a:rPr lang="de-DE" b="1" i="0" u="sng" baseline="0" dirty="0"/>
              <a:t>Kultur der Wertschätzung</a:t>
            </a:r>
          </a:p>
          <a:p>
            <a:pPr eaLnBrk="1" hangingPunct="1"/>
            <a:r>
              <a:rPr lang="de-DE" b="0" i="0" baseline="0" dirty="0"/>
              <a:t>Für uns ist ein harmonisches Miteinander ein wesentlicher Grundstein für erfolgreiches Lernen, das gelingt nur, wenn man sich gegenseitig respektvoll begegnet.</a:t>
            </a:r>
          </a:p>
          <a:p>
            <a:pPr eaLnBrk="1" hangingPunct="1"/>
            <a:r>
              <a:rPr lang="de-DE" b="0" i="0" baseline="0" dirty="0"/>
              <a:t>Außerdem sind uns die Meinungen unserer </a:t>
            </a:r>
            <a:r>
              <a:rPr lang="de-DE" b="0" i="0" baseline="0" dirty="0" err="1"/>
              <a:t>SuS</a:t>
            </a:r>
            <a:r>
              <a:rPr lang="de-DE" b="0" i="0" baseline="0" dirty="0"/>
              <a:t> wichtig.</a:t>
            </a:r>
          </a:p>
          <a:p>
            <a:pPr eaLnBrk="1" hangingPunct="1"/>
            <a:r>
              <a:rPr lang="de-DE" b="0" i="0" baseline="0" dirty="0"/>
              <a:t>Am Beispiel der Entstehung unseres LK-Modells lässt sich das sehr schön zeigen (</a:t>
            </a:r>
            <a:r>
              <a:rPr lang="de-DE" b="0" i="0" baseline="0" dirty="0" err="1"/>
              <a:t>Enstehung</a:t>
            </a:r>
            <a:r>
              <a:rPr lang="de-DE" b="0" i="0" baseline="0" dirty="0"/>
              <a:t> erläutern).</a:t>
            </a:r>
          </a:p>
          <a:p>
            <a:pPr eaLnBrk="1" hangingPunct="1"/>
            <a:r>
              <a:rPr lang="de-DE" b="0" i="0" baseline="0" dirty="0"/>
              <a:t>Uns ist es auch wichtig ehrlich mit den </a:t>
            </a:r>
            <a:r>
              <a:rPr lang="de-DE" b="0" i="0" baseline="0" dirty="0" err="1"/>
              <a:t>SuS</a:t>
            </a:r>
            <a:r>
              <a:rPr lang="de-DE" b="0" i="0" baseline="0" dirty="0"/>
              <a:t> und selbstverständlich auch mit Ihnen liebe Eltern zu sein.</a:t>
            </a:r>
          </a:p>
          <a:p>
            <a:pPr eaLnBrk="1" hangingPunct="1"/>
            <a:r>
              <a:rPr lang="de-DE" b="0" i="0" baseline="0" dirty="0"/>
              <a:t>Deshalb gab es in den vergangenen Jahren ein festes LK-Angebot, so dass man am Ende der EF kein böses Erwachen erlebte (näher erläutern).</a:t>
            </a:r>
          </a:p>
          <a:p>
            <a:pPr eaLnBrk="1" hangingPunct="1"/>
            <a:endParaRPr lang="de-DE" baseline="0" dirty="0"/>
          </a:p>
          <a:p>
            <a:pPr eaLnBrk="1" hangingPunct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3176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836D84B-F7A3-430A-879D-E2BC479E5C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45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5" imgW="573" imgH="574" progId="TCLayout.ActiveDocument.1">
                  <p:embed/>
                </p:oleObj>
              </mc:Choice>
              <mc:Fallback>
                <p:oleObj name="think-cell Folie" r:id="rId5" imgW="573" imgH="57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836D84B-F7A3-430A-879D-E2BC479E5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C69C715-62F6-4ECF-AAE9-044A73C7B1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1" i="0" baseline="0" dirty="0">
              <a:latin typeface="Gill Sans MT" panose="020B0502020104020203" pitchFamily="34" charset="0"/>
              <a:ea typeface="Cambria" panose="02040503050406030204" pitchFamily="18" charset="0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F322305-20F3-4E45-B0B1-8FC2F0F740D1}"/>
              </a:ext>
            </a:extLst>
          </p:cNvPr>
          <p:cNvSpPr/>
          <p:nvPr/>
        </p:nvSpPr>
        <p:spPr>
          <a:xfrm>
            <a:off x="0" y="4871156"/>
            <a:ext cx="12192000" cy="1986844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E1C99-22C6-4AB4-BA93-9033F249F8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3022" y="1986844"/>
            <a:ext cx="11531600" cy="2167467"/>
          </a:xfrm>
        </p:spPr>
        <p:txBody>
          <a:bodyPr anchor="b"/>
          <a:lstStyle>
            <a:lvl1pPr algn="ctr">
              <a:defRPr sz="6000">
                <a:solidFill>
                  <a:srgbClr val="CB000E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0" name="Picture 4" descr="!logogee_4c">
            <a:extLst>
              <a:ext uri="{FF2B5EF4-FFF2-40B4-BE49-F238E27FC236}">
                <a16:creationId xmlns:a16="http://schemas.microsoft.com/office/drawing/2014/main" id="{EB049302-9436-4F6F-AF2A-4193223608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7378" y="633244"/>
            <a:ext cx="3513968" cy="978235"/>
          </a:xfrm>
          <a:prstGeom prst="rect">
            <a:avLst/>
          </a:prstGeom>
        </p:spPr>
      </p:pic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64F511CB-24A4-4B64-AF62-8B97396688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755" y="4889411"/>
            <a:ext cx="11527867" cy="1178879"/>
          </a:xfr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521A643A-BD62-4798-9D5D-0C6FB097F0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20" name="Fußzeilenplatzhalter 4">
            <a:extLst>
              <a:ext uri="{FF2B5EF4-FFF2-40B4-BE49-F238E27FC236}">
                <a16:creationId xmlns:a16="http://schemas.microsoft.com/office/drawing/2014/main" id="{303DF767-B519-44F6-BAAE-A4F0C2E134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6FF5C97C-01D3-45E7-8697-2A5062425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418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8013923C-FF1D-433B-BDE7-17E8A66105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2B1650D6-DC09-427A-8076-2DD40A67EF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4" name="Picture 4" descr="!logogee_4c">
            <a:extLst>
              <a:ext uri="{FF2B5EF4-FFF2-40B4-BE49-F238E27FC236}">
                <a16:creationId xmlns:a16="http://schemas.microsoft.com/office/drawing/2014/main" id="{1D07D5B7-5022-437C-9AE6-1809FF7AE5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15" name="Grafik 14" descr="Ein Bild, das Pfeil enthält.&#10;&#10;Automatisch generierte Beschreibung">
            <a:extLst>
              <a:ext uri="{FF2B5EF4-FFF2-40B4-BE49-F238E27FC236}">
                <a16:creationId xmlns:a16="http://schemas.microsoft.com/office/drawing/2014/main" id="{568973FE-0A8A-4269-869E-A5069FFBBC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4FE17CF-7AB0-4A65-8730-DDDBA24C7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082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26ECD1-5F9C-442B-A76A-635C1D139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5819188-595E-4D58-95BC-AEEE1B8E73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2985B98-2C29-45CB-B4A3-C0E381E2E3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48D72B73-0C77-4C4B-BC8F-F5B3F07A7F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18BBD1D8-308C-465B-86B3-A53C9B9FB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9" name="Picture 4" descr="!logogee_4c">
            <a:extLst>
              <a:ext uri="{FF2B5EF4-FFF2-40B4-BE49-F238E27FC236}">
                <a16:creationId xmlns:a16="http://schemas.microsoft.com/office/drawing/2014/main" id="{A4871B08-0215-470F-87E5-D9A9359D06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20" name="Grafik 19" descr="Ein Bild, das Pfeil enthält.&#10;&#10;Automatisch generierte Beschreibung">
            <a:extLst>
              <a:ext uri="{FF2B5EF4-FFF2-40B4-BE49-F238E27FC236}">
                <a16:creationId xmlns:a16="http://schemas.microsoft.com/office/drawing/2014/main" id="{C18A1FA2-7F59-4378-A152-840A0D91B0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33F09F7C-B32C-4552-8F2A-8BE63EC6B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6447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1A01D7-710A-41D2-B591-D5A54DB34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891323F-1303-4365-ADAC-38A4A20780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F4237F6-B87C-4FD1-9A0F-516FD6639E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06A5582A-2FBE-4D64-A247-E07E0CAE86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D71F7995-152F-41EE-B07F-8FA8D58EE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7" name="Picture 4" descr="!logogee_4c">
            <a:extLst>
              <a:ext uri="{FF2B5EF4-FFF2-40B4-BE49-F238E27FC236}">
                <a16:creationId xmlns:a16="http://schemas.microsoft.com/office/drawing/2014/main" id="{E023240B-0102-48F4-9F99-A10F98BDDC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18" name="Grafik 17" descr="Ein Bild, das Pfeil enthält.&#10;&#10;Automatisch generierte Beschreibung">
            <a:extLst>
              <a:ext uri="{FF2B5EF4-FFF2-40B4-BE49-F238E27FC236}">
                <a16:creationId xmlns:a16="http://schemas.microsoft.com/office/drawing/2014/main" id="{1E0CCC07-0406-4422-A61B-AD9EF6EF56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3C8D4F4A-945B-4351-9384-31F20A446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7557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36753" y="1959429"/>
            <a:ext cx="11518489" cy="188867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6755" y="4000501"/>
            <a:ext cx="11518489" cy="21304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2AE0C1E-70DE-4B29-A207-DDF9D89DEF33}"/>
              </a:ext>
            </a:extLst>
          </p:cNvPr>
          <p:cNvSpPr/>
          <p:nvPr userDrawn="1"/>
        </p:nvSpPr>
        <p:spPr>
          <a:xfrm>
            <a:off x="0" y="545690"/>
            <a:ext cx="12192000" cy="1279935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814D231B-E138-4350-BB97-933BB22AA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56" y="681038"/>
            <a:ext cx="10814174" cy="113060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BF65E8BD-DFBE-414A-91C4-F5D6AA73CBB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ABD3BF5C-86DE-488B-9CA9-16874085DE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9" name="Picture 4" descr="!logogee_4c">
            <a:extLst>
              <a:ext uri="{FF2B5EF4-FFF2-40B4-BE49-F238E27FC236}">
                <a16:creationId xmlns:a16="http://schemas.microsoft.com/office/drawing/2014/main" id="{689EA4A1-935A-4EAD-B96D-05E62CAFD0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20" name="Grafik 19" descr="Ein Bild, das Pfeil enthält.&#10;&#10;Automatisch generierte Beschreibung">
            <a:extLst>
              <a:ext uri="{FF2B5EF4-FFF2-40B4-BE49-F238E27FC236}">
                <a16:creationId xmlns:a16="http://schemas.microsoft.com/office/drawing/2014/main" id="{8C56D688-14AB-4BF6-B07D-F19F989616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3C93A8DF-04DB-4CD2-BAC6-4563870DA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3434082"/>
      </p:ext>
    </p:extLst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836D84B-F7A3-430A-879D-E2BC479E5C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488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Folie" r:id="rId5" imgW="573" imgH="574" progId="TCLayout.ActiveDocument.1">
                  <p:embed/>
                </p:oleObj>
              </mc:Choice>
              <mc:Fallback>
                <p:oleObj name="think-cell Folie" r:id="rId5" imgW="573" imgH="57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836D84B-F7A3-430A-879D-E2BC479E5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3C69C715-62F6-4ECF-AAE9-044A73C7B1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6000" b="1" i="0" baseline="0" dirty="0">
              <a:latin typeface="Gill Sans MT" panose="020B0502020104020203" pitchFamily="34" charset="0"/>
              <a:ea typeface="Cambria" panose="02040503050406030204" pitchFamily="18" charset="0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81E1C99-22C6-4AB4-BA93-9033F249F8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3022" y="1122362"/>
            <a:ext cx="11531600" cy="3031949"/>
          </a:xfrm>
        </p:spPr>
        <p:txBody>
          <a:bodyPr anchor="b"/>
          <a:lstStyle>
            <a:lvl1pPr algn="ctr">
              <a:defRPr sz="6000">
                <a:solidFill>
                  <a:srgbClr val="CB000E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9" name="Grafik 8" descr="Ein Bild, das Pfeil enthält.&#10;&#10;Automatisch generierte Beschreibung">
            <a:extLst>
              <a:ext uri="{FF2B5EF4-FFF2-40B4-BE49-F238E27FC236}">
                <a16:creationId xmlns:a16="http://schemas.microsoft.com/office/drawing/2014/main" id="{63242D7E-B2AF-4E69-857B-2C642F93A4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8CA9436E-F91D-40AF-8131-1C42CC73A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FD735B85-E3A2-4218-9AE0-E91BA8ED7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D48A72AF-2F89-475E-B26A-FEC0DE5C9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98538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20E7613-82A8-4337-8AEE-F504FC381D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669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Folie" r:id="rId5" imgW="573" imgH="574" progId="TCLayout.ActiveDocument.1">
                  <p:embed/>
                </p:oleObj>
              </mc:Choice>
              <mc:Fallback>
                <p:oleObj name="think-cell Folie" r:id="rId5" imgW="573" imgH="5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20E7613-82A8-4337-8AEE-F504FC381D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C29BFA-6193-4188-AB3E-C1E89239AB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1" i="0" baseline="0" dirty="0">
              <a:latin typeface="Gill Sans MT" panose="020B0502020104020203" pitchFamily="34" charset="0"/>
              <a:ea typeface="Cambria" panose="02040503050406030204" pitchFamily="18" charset="0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BF79BFC-E432-4271-998E-5E684EFA4A72}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C7547-E479-4437-A4FD-E1676DD1B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B000E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02DCE8-1898-424C-8942-4C406A9F82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1266583"/>
          </a:xfrm>
        </p:spPr>
        <p:txBody>
          <a:bodyPr/>
          <a:lstStyle>
            <a:lvl1pPr>
              <a:defRPr>
                <a:solidFill>
                  <a:srgbClr val="CB000E"/>
                </a:solidFill>
              </a:defRPr>
            </a:lvl1pPr>
            <a:lvl2pPr>
              <a:defRPr>
                <a:solidFill>
                  <a:srgbClr val="CB000E"/>
                </a:solidFill>
              </a:defRPr>
            </a:lvl2pPr>
            <a:lvl3pPr>
              <a:defRPr>
                <a:solidFill>
                  <a:srgbClr val="CB000E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D3A2A813-C7A9-40EB-B7D8-B8BF514E47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8893E63E-6002-4FAD-8C0C-6CC78BB51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3" name="Picture 4" descr="!logogee_4c">
            <a:extLst>
              <a:ext uri="{FF2B5EF4-FFF2-40B4-BE49-F238E27FC236}">
                <a16:creationId xmlns:a16="http://schemas.microsoft.com/office/drawing/2014/main" id="{8CE921C7-B397-4B19-8669-6796B55726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6A415EF3-11F4-44D2-BE67-6FDA0DE84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3119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Pfeil enthält.&#10;&#10;Automatisch generierte Beschreibung">
            <a:extLst>
              <a:ext uri="{FF2B5EF4-FFF2-40B4-BE49-F238E27FC236}">
                <a16:creationId xmlns:a16="http://schemas.microsoft.com/office/drawing/2014/main" id="{7422F1D8-5538-4155-A9E6-666E54937A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0B1EFCE-8EE3-4746-B776-5B747C6F8C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743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Folie" r:id="rId6" imgW="573" imgH="574" progId="TCLayout.ActiveDocument.1">
                  <p:embed/>
                </p:oleObj>
              </mc:Choice>
              <mc:Fallback>
                <p:oleObj name="think-cell Folie" r:id="rId6" imgW="573" imgH="57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0B1EFCE-8EE3-4746-B776-5B747C6F8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22CBCC55-04EC-407C-AEAF-5051A457F6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1" i="0" baseline="0" dirty="0">
              <a:latin typeface="Gill Sans MT" panose="020B0502020104020203" pitchFamily="34" charset="0"/>
              <a:ea typeface="Cambria" panose="02040503050406030204" pitchFamily="18" charset="0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780C71A-220E-45B6-8A39-AE3AD0DDD97B}"/>
              </a:ext>
            </a:extLst>
          </p:cNvPr>
          <p:cNvSpPr/>
          <p:nvPr/>
        </p:nvSpPr>
        <p:spPr>
          <a:xfrm>
            <a:off x="0" y="545690"/>
            <a:ext cx="12192000" cy="1279935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56C7547-E479-4437-A4FD-E1676DD1B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56" y="681038"/>
            <a:ext cx="10814174" cy="113060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02DCE8-1898-424C-8942-4C406A9F82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755" y="1991031"/>
            <a:ext cx="11518489" cy="4185931"/>
          </a:xfrm>
        </p:spPr>
        <p:txBody>
          <a:bodyPr/>
          <a:lstStyle>
            <a:lvl1pPr marL="0" indent="0">
              <a:spcBef>
                <a:spcPts val="1500"/>
              </a:spcBef>
              <a:spcAft>
                <a:spcPts val="0"/>
              </a:spcAft>
              <a:buNone/>
              <a:defRPr b="0">
                <a:solidFill>
                  <a:schemeClr val="tx1"/>
                </a:solidFill>
              </a:defRPr>
            </a:lvl1pPr>
            <a:lvl2pPr marL="449263" indent="-228600">
              <a:spcBef>
                <a:spcPts val="60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 marL="715963" indent="-228600">
              <a:spcBef>
                <a:spcPts val="60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 marL="987425" indent="-228600">
              <a:spcBef>
                <a:spcPts val="60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 marL="1254125" indent="-228600">
              <a:spcAft>
                <a:spcPts val="12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11821F1F-15CF-4591-A594-05FD7962E5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309F3FD3-2316-4CCA-86E3-BF5D6E264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6" name="Picture 4" descr="!logogee_4c">
            <a:extLst>
              <a:ext uri="{FF2B5EF4-FFF2-40B4-BE49-F238E27FC236}">
                <a16:creationId xmlns:a16="http://schemas.microsoft.com/office/drawing/2014/main" id="{D1198E12-5A11-43D7-AE60-AEE8D23367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sp>
        <p:nvSpPr>
          <p:cNvPr id="17" name="Foliennummernplatzhalter 5">
            <a:extLst>
              <a:ext uri="{FF2B5EF4-FFF2-40B4-BE49-F238E27FC236}">
                <a16:creationId xmlns:a16="http://schemas.microsoft.com/office/drawing/2014/main" id="{B934B6BA-88B0-4F8E-A883-7D44FCD5D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40875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299BAE17-6514-493B-B53F-B7208BA35725}"/>
              </a:ext>
            </a:extLst>
          </p:cNvPr>
          <p:cNvSpPr/>
          <p:nvPr userDrawn="1"/>
        </p:nvSpPr>
        <p:spPr>
          <a:xfrm>
            <a:off x="0" y="545690"/>
            <a:ext cx="12192000" cy="1279935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02DCE8-1898-424C-8942-4C406A9F82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13044"/>
                </a:solidFill>
              </a:defRPr>
            </a:lvl1pPr>
            <a:lvl2pPr>
              <a:defRPr>
                <a:solidFill>
                  <a:srgbClr val="013044"/>
                </a:solidFill>
              </a:defRPr>
            </a:lvl2pPr>
            <a:lvl3pPr>
              <a:defRPr>
                <a:solidFill>
                  <a:srgbClr val="013044"/>
                </a:solidFill>
              </a:defRPr>
            </a:lvl3pPr>
            <a:lvl4pPr>
              <a:defRPr>
                <a:solidFill>
                  <a:srgbClr val="013044"/>
                </a:solidFill>
              </a:defRPr>
            </a:lvl4pPr>
            <a:lvl5pPr>
              <a:defRPr>
                <a:solidFill>
                  <a:srgbClr val="013044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CB01022E-287A-44FB-A202-12F5DFFAF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56" y="681038"/>
            <a:ext cx="10814174" cy="113060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8" name="Picture 4" descr="!logogee_4c">
            <a:extLst>
              <a:ext uri="{FF2B5EF4-FFF2-40B4-BE49-F238E27FC236}">
                <a16:creationId xmlns:a16="http://schemas.microsoft.com/office/drawing/2014/main" id="{C5FB0501-BDDF-43DA-BA47-6A36C20825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19" name="Grafik 18" descr="Ein Bild, das Pfeil enthält.&#10;&#10;Automatisch generierte Beschreibung">
            <a:extLst>
              <a:ext uri="{FF2B5EF4-FFF2-40B4-BE49-F238E27FC236}">
                <a16:creationId xmlns:a16="http://schemas.microsoft.com/office/drawing/2014/main" id="{BE7CA22D-EE89-421B-AE38-D98C99EEB7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C02B5ECE-4910-42F2-BB35-A098112F73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A4A8EB3C-E9E0-43A4-A0EE-BB043F4947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667B78EA-7374-40F0-8CEA-AD1E2F49A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4133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8C2D52E4-B8BB-4D5D-BAB4-576424252831}"/>
              </a:ext>
            </a:extLst>
          </p:cNvPr>
          <p:cNvSpPr/>
          <p:nvPr/>
        </p:nvSpPr>
        <p:spPr>
          <a:xfrm>
            <a:off x="0" y="4589463"/>
            <a:ext cx="12192000" cy="1500187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00ED628-E788-4E38-8751-8B6FF00A2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3689" y="1709738"/>
            <a:ext cx="10421555" cy="2852737"/>
          </a:xfrm>
        </p:spPr>
        <p:txBody>
          <a:bodyPr anchor="b"/>
          <a:lstStyle>
            <a:lvl1pPr>
              <a:defRPr sz="6000">
                <a:solidFill>
                  <a:srgbClr val="CB000E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E738B27-DB62-4373-B498-20D83E95D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33688" y="4589463"/>
            <a:ext cx="8280328" cy="1500187"/>
          </a:xfr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Datumsplatzhalter 3">
            <a:extLst>
              <a:ext uri="{FF2B5EF4-FFF2-40B4-BE49-F238E27FC236}">
                <a16:creationId xmlns:a16="http://schemas.microsoft.com/office/drawing/2014/main" id="{F1B11716-643E-4A33-8275-F9CEEA53F5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E30572F5-F465-4594-8715-10324A4219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9" name="Picture 4" descr="!logogee_4c">
            <a:extLst>
              <a:ext uri="{FF2B5EF4-FFF2-40B4-BE49-F238E27FC236}">
                <a16:creationId xmlns:a16="http://schemas.microsoft.com/office/drawing/2014/main" id="{776DE50F-8F40-4C26-A32B-CEE338B55D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378" y="633244"/>
            <a:ext cx="3513968" cy="978235"/>
          </a:xfrm>
          <a:prstGeom prst="rect">
            <a:avLst/>
          </a:prstGeom>
        </p:spPr>
      </p:pic>
      <p:pic>
        <p:nvPicPr>
          <p:cNvPr id="20" name="Grafik 19" descr="Ein Bild, das Pfeil enthält.&#10;&#10;Automatisch generierte Beschreibung">
            <a:extLst>
              <a:ext uri="{FF2B5EF4-FFF2-40B4-BE49-F238E27FC236}">
                <a16:creationId xmlns:a16="http://schemas.microsoft.com/office/drawing/2014/main" id="{ED0592F6-62C1-42DB-B4C5-BB02FF93AC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A0107F3E-8773-472C-9D0A-C51E02022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2668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8894E97-5969-4A43-B0AC-4E5DA9CCEE9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6755" y="1825625"/>
            <a:ext cx="5683045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D9CCB21-7F24-4369-8B48-EE1689B111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683044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20E94F9-E337-4EAA-9148-931BCE2F7645}"/>
              </a:ext>
            </a:extLst>
          </p:cNvPr>
          <p:cNvSpPr/>
          <p:nvPr userDrawn="1"/>
        </p:nvSpPr>
        <p:spPr>
          <a:xfrm>
            <a:off x="0" y="545690"/>
            <a:ext cx="12192000" cy="1279935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2FBFD808-B64D-4388-B3A9-E33DE1FC9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56" y="681038"/>
            <a:ext cx="10814174" cy="113060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19" name="Picture 4" descr="!logogee_4c">
            <a:extLst>
              <a:ext uri="{FF2B5EF4-FFF2-40B4-BE49-F238E27FC236}">
                <a16:creationId xmlns:a16="http://schemas.microsoft.com/office/drawing/2014/main" id="{F5300C64-2B23-4041-B1F6-80F46D1C70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20" name="Grafik 19" descr="Ein Bild, das Pfeil enthält.&#10;&#10;Automatisch generierte Beschreibung">
            <a:extLst>
              <a:ext uri="{FF2B5EF4-FFF2-40B4-BE49-F238E27FC236}">
                <a16:creationId xmlns:a16="http://schemas.microsoft.com/office/drawing/2014/main" id="{ADB67ADE-AF40-455D-BAF3-5FFB3BF0C3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87AEA9AF-4365-4290-9588-3393467726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F2A9B22E-36E1-4065-AB8E-34C2755D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B936FFCD-5DEE-44E4-9548-1B9A0D97A6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5588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F852100-E840-4A67-85AE-FA7F5BBD67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1E0F333-41F6-48A5-A1B1-ED58475507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C06E9B-A9DA-4A3C-9545-737DA7AB8D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763BCC2-822C-46EC-A317-C2FF5AC93D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984C47D-B28D-46BA-AC44-4410B0AA5DC3}"/>
              </a:ext>
            </a:extLst>
          </p:cNvPr>
          <p:cNvSpPr/>
          <p:nvPr userDrawn="1"/>
        </p:nvSpPr>
        <p:spPr>
          <a:xfrm>
            <a:off x="0" y="545690"/>
            <a:ext cx="12192000" cy="1279935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0852D720-79D3-4845-BB5F-D626239EB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56" y="681038"/>
            <a:ext cx="10814174" cy="113060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8" name="Datumsplatzhalter 3">
            <a:extLst>
              <a:ext uri="{FF2B5EF4-FFF2-40B4-BE49-F238E27FC236}">
                <a16:creationId xmlns:a16="http://schemas.microsoft.com/office/drawing/2014/main" id="{A9F3C52C-3353-4E03-91A2-409D708294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20" name="Fußzeilenplatzhalter 4">
            <a:extLst>
              <a:ext uri="{FF2B5EF4-FFF2-40B4-BE49-F238E27FC236}">
                <a16:creationId xmlns:a16="http://schemas.microsoft.com/office/drawing/2014/main" id="{4BE2B5A1-5BBF-4DD8-B62E-FEA5B17C5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21" name="Picture 4" descr="!logogee_4c">
            <a:extLst>
              <a:ext uri="{FF2B5EF4-FFF2-40B4-BE49-F238E27FC236}">
                <a16:creationId xmlns:a16="http://schemas.microsoft.com/office/drawing/2014/main" id="{EBB92EE7-9AB3-4B78-A556-35486F7D4B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22" name="Grafik 21" descr="Ein Bild, das Pfeil enthält.&#10;&#10;Automatisch generierte Beschreibung">
            <a:extLst>
              <a:ext uri="{FF2B5EF4-FFF2-40B4-BE49-F238E27FC236}">
                <a16:creationId xmlns:a16="http://schemas.microsoft.com/office/drawing/2014/main" id="{8330CD8E-F373-4650-B5D9-58B1A1F50B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D2DCD82F-4534-4BEC-87B0-79F671CBD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8863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4FB71F9-3925-4642-823E-7ED6DEFAB427}"/>
              </a:ext>
            </a:extLst>
          </p:cNvPr>
          <p:cNvSpPr/>
          <p:nvPr userDrawn="1"/>
        </p:nvSpPr>
        <p:spPr>
          <a:xfrm>
            <a:off x="0" y="545690"/>
            <a:ext cx="12192000" cy="1279935"/>
          </a:xfrm>
          <a:prstGeom prst="rect">
            <a:avLst/>
          </a:prstGeom>
          <a:solidFill>
            <a:srgbClr val="8D91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559182E3-8A3F-4977-B721-E32A4476C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56" y="681038"/>
            <a:ext cx="10814174" cy="1130605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62C1E2A0-1B03-4120-A8CE-0DB3129474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6755" y="6356350"/>
            <a:ext cx="1255889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3.11.2021</a:t>
            </a:r>
            <a:endParaRPr lang="de-DE" dirty="0"/>
          </a:p>
        </p:txBody>
      </p:sp>
      <p:sp>
        <p:nvSpPr>
          <p:cNvPr id="16" name="Fußzeilenplatzhalter 4">
            <a:extLst>
              <a:ext uri="{FF2B5EF4-FFF2-40B4-BE49-F238E27FC236}">
                <a16:creationId xmlns:a16="http://schemas.microsoft.com/office/drawing/2014/main" id="{4BA6D45C-FC3C-4042-9AA7-458BAFD26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922" y="6356350"/>
            <a:ext cx="702132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7" name="Picture 4" descr="!logogee_4c">
            <a:extLst>
              <a:ext uri="{FF2B5EF4-FFF2-40B4-BE49-F238E27FC236}">
                <a16:creationId xmlns:a16="http://schemas.microsoft.com/office/drawing/2014/main" id="{A3B5D1C0-3468-4749-ABFD-BAA2ACF24D8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465" y="92052"/>
            <a:ext cx="1332457" cy="370935"/>
          </a:xfrm>
          <a:prstGeom prst="rect">
            <a:avLst/>
          </a:prstGeom>
        </p:spPr>
      </p:pic>
      <p:pic>
        <p:nvPicPr>
          <p:cNvPr id="18" name="Grafik 17" descr="Ein Bild, das Pfeil enthält.&#10;&#10;Automatisch generierte Beschreibung">
            <a:extLst>
              <a:ext uri="{FF2B5EF4-FFF2-40B4-BE49-F238E27FC236}">
                <a16:creationId xmlns:a16="http://schemas.microsoft.com/office/drawing/2014/main" id="{77C589D1-EA7C-486C-94FB-2B0106112E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838" y="6437335"/>
            <a:ext cx="714689" cy="364173"/>
          </a:xfrm>
          <a:prstGeom prst="rect">
            <a:avLst/>
          </a:prstGeom>
        </p:spPr>
      </p:pic>
      <p:sp>
        <p:nvSpPr>
          <p:cNvPr id="19" name="Foliennummernplatzhalter 5">
            <a:extLst>
              <a:ext uri="{FF2B5EF4-FFF2-40B4-BE49-F238E27FC236}">
                <a16:creationId xmlns:a16="http://schemas.microsoft.com/office/drawing/2014/main" id="{B9686DFB-2568-4E40-B3FE-CE848D429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43244" y="6356350"/>
            <a:ext cx="612000" cy="364173"/>
          </a:xfrm>
          <a:prstGeom prst="rect">
            <a:avLst/>
          </a:prstGeom>
          <a:noFill/>
          <a:ln w="38100">
            <a:noFill/>
          </a:ln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70E5D9C1-7B31-4BB3-98E5-381646DA505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3781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1FCEDA-C971-49A3-A38A-F5EB8983724E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3926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18" imgW="573" imgH="574" progId="TCLayout.ActiveDocument.1">
                  <p:embed/>
                </p:oleObj>
              </mc:Choice>
              <mc:Fallback>
                <p:oleObj name="think-cell Folie" r:id="rId18" imgW="573" imgH="57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1FCEDA-C971-49A3-A38A-F5EB89837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B78AC4F6-251D-430E-A54F-758A0FA1711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1" i="0" baseline="0" dirty="0">
              <a:latin typeface="Gill Sans MT" panose="020B0502020104020203" pitchFamily="34" charset="0"/>
              <a:ea typeface="Cambria" panose="02040503050406030204" pitchFamily="18" charset="0"/>
              <a:cs typeface="+mj-cs"/>
              <a:sym typeface="Gill Sans MT" panose="020B0502020104020203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343BDE6-D676-4AC6-8391-586E73BD6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756" y="365125"/>
            <a:ext cx="1008298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16A9CE-6D16-4FB6-979D-5C913B2652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755" y="1825625"/>
            <a:ext cx="1151848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E363A5-EF8C-462C-929C-EBAC093C74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75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de-DE"/>
              <a:t>23.11.2021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B8D51E0-057F-4B54-A1B4-95367EC891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901C49E-DD68-42CF-B3E5-B7F8B80E67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204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0E5D9C1-7B31-4BB3-98E5-381646DA505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349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8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CB000E"/>
          </a:solidFill>
          <a:latin typeface="+mj-lt"/>
          <a:ea typeface="Cambria" panose="02040503050406030204" pitchFamily="18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freepngimg.com/png/16788-target-png-file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pixnio.com/de/objekte/spielzeug/fahrzeug-wasser-auto-reise-urlaub-spielzeug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jonglieren-k%C3%BCnstler-zirkus-geld-1027152/" TargetMode="External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ublicdomainfiles.com/show_file.php?id=13973827816404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freepngimg.com/png/64653-service-icons-hosting-computer-address-mail-email" TargetMode="External"/><Relationship Id="rId4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5B6A27-2C08-4D14-AB8F-B5B46D02B8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3022" y="2721944"/>
            <a:ext cx="11531600" cy="2167467"/>
          </a:xfrm>
        </p:spPr>
        <p:txBody>
          <a:bodyPr/>
          <a:lstStyle/>
          <a:p>
            <a:r>
              <a:rPr lang="de-DE" dirty="0"/>
              <a:t>Willkommen zum </a:t>
            </a:r>
            <a:br>
              <a:rPr lang="de-DE" dirty="0"/>
            </a:br>
            <a:r>
              <a:rPr lang="de-DE" dirty="0"/>
              <a:t>1. Informationsabend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77964D7-B7E5-4AE0-BECA-5C0383BF8E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de-DE" dirty="0"/>
              <a:t>Für das Schuljahr 2024/ 2025</a:t>
            </a:r>
          </a:p>
        </p:txBody>
      </p:sp>
      <p:pic>
        <p:nvPicPr>
          <p:cNvPr id="6" name="Picture 18" descr="Sloga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71010" y="736116"/>
            <a:ext cx="1984235" cy="772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93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b="1" dirty="0"/>
              <a:t>Das Abitur</a:t>
            </a:r>
            <a:br>
              <a:rPr lang="de-DE" dirty="0"/>
            </a:br>
            <a:r>
              <a:rPr lang="de-DE" sz="2200" dirty="0"/>
              <a:t>Die Abiturprüfung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20C9807-B323-4B4C-8E20-C7E5A686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pPr/>
              <a:t>10</a:t>
            </a:fld>
            <a:endParaRPr lang="de-DE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5B096930-7937-436A-909A-9E1B53B829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1531578"/>
              </p:ext>
            </p:extLst>
          </p:nvPr>
        </p:nvGraphicFramePr>
        <p:xfrm>
          <a:off x="964141" y="2700867"/>
          <a:ext cx="10263717" cy="1820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12D5B29A-FB5A-4699-AD97-D23B1BE122EC}"/>
              </a:ext>
            </a:extLst>
          </p:cNvPr>
          <p:cNvSpPr txBox="1"/>
          <p:nvPr/>
        </p:nvSpPr>
        <p:spPr>
          <a:xfrm>
            <a:off x="964142" y="5168498"/>
            <a:ext cx="10263716" cy="77510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2400" dirty="0"/>
              <a:t>Grundsätzlich müssen zwei der Fächer D, M, FS Abiturfächer sein</a:t>
            </a:r>
          </a:p>
        </p:txBody>
      </p:sp>
    </p:spTree>
    <p:extLst>
      <p:ext uri="{BB962C8B-B14F-4D97-AF65-F5344CB8AC3E}">
        <p14:creationId xmlns:p14="http://schemas.microsoft.com/office/powerpoint/2010/main" val="3087723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D5B810-BAE2-4F9B-BB0E-DCA1752A3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Zusammenfassung Informationen zur Oberstuf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5A358A-8E58-4BD4-9454-EFA0674654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755" y="1991031"/>
            <a:ext cx="11518489" cy="4185931"/>
          </a:xfrm>
        </p:spPr>
        <p:txBody>
          <a:bodyPr>
            <a:normAutofit lnSpcReduction="10000"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sz="2000" dirty="0"/>
          </a:p>
          <a:p>
            <a:r>
              <a:rPr lang="de-DE" sz="2000" dirty="0"/>
              <a:t>https://broschuerenservice.nrw.de/msb-duesseldorf/shop/Die_gymnasiale_Oberstufe_an_Gymnasien_und_Gesamtschulen_in_Nordrhein-Westfal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ABE0F0-4726-4AFA-B87A-7304317AE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E5D9C1-7B31-4BB3-98E5-381646DA505F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BC03597-1E36-4FE8-8508-1BBD0C0803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957" t="30725" r="56109" b="24638"/>
          <a:stretch/>
        </p:blipFill>
        <p:spPr>
          <a:xfrm>
            <a:off x="4490266" y="1985106"/>
            <a:ext cx="2186610" cy="3061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956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nhaltsplatzhalter 17" descr="Ein Bild, das Gebäude, Baum, draußen, Himmel enthält.&#10;&#10;Automatisch generierte Beschreibung">
            <a:extLst>
              <a:ext uri="{FF2B5EF4-FFF2-40B4-BE49-F238E27FC236}">
                <a16:creationId xmlns:a16="http://schemas.microsoft.com/office/drawing/2014/main" id="{A566D696-1339-4B22-945D-ECCDA9D55B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128" y="2414239"/>
            <a:ext cx="6129015" cy="3446153"/>
          </a:xfrm>
        </p:spPr>
      </p:pic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 vert="horz" lIns="92075" tIns="46038" rIns="92075" bIns="46038" rtlCol="0" anchor="t">
            <a:noAutofit/>
            <a:scene3d>
              <a:camera prst="orthographicFront"/>
              <a:lightRig rig="soft" dir="t"/>
            </a:scene3d>
            <a:sp3d prstMaterial="softEdge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e-DE" dirty="0">
                <a:effectLst/>
              </a:rPr>
              <a:t>Warum die Gesamtschule Eiserfeld?</a:t>
            </a:r>
            <a:r>
              <a:rPr lang="de-DE" b="1" dirty="0">
                <a:effectLst/>
              </a:rPr>
              <a:t>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52AA178-C0DA-41FD-BDBB-99F6E290D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12</a:t>
            </a:fld>
            <a:endParaRPr lang="de-DE"/>
          </a:p>
        </p:txBody>
      </p:sp>
      <p:sp>
        <p:nvSpPr>
          <p:cNvPr id="11" name="Oval 15">
            <a:extLst>
              <a:ext uri="{FF2B5EF4-FFF2-40B4-BE49-F238E27FC236}">
                <a16:creationId xmlns:a16="http://schemas.microsoft.com/office/drawing/2014/main" id="{ADA3CB8B-0F04-4C23-89D4-06680B2BEA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7313" y="2414237"/>
            <a:ext cx="2381653" cy="1008000"/>
          </a:xfrm>
          <a:prstGeom prst="rect">
            <a:avLst/>
          </a:prstGeom>
          <a:solidFill>
            <a:srgbClr val="A4C0E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000" dirty="0">
                <a:solidFill>
                  <a:schemeClr val="tx1"/>
                </a:solidFill>
              </a:rPr>
              <a:t>Schule mit Tradition</a:t>
            </a:r>
          </a:p>
        </p:txBody>
      </p:sp>
      <p:sp>
        <p:nvSpPr>
          <p:cNvPr id="12" name="Oval 4">
            <a:extLst>
              <a:ext uri="{FF2B5EF4-FFF2-40B4-BE49-F238E27FC236}">
                <a16:creationId xmlns:a16="http://schemas.microsoft.com/office/drawing/2014/main" id="{67F9A476-E7BC-4C73-A929-80843FFE0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42195" y="4852392"/>
            <a:ext cx="3225647" cy="1008000"/>
          </a:xfrm>
          <a:prstGeom prst="rect">
            <a:avLst/>
          </a:prstGeom>
          <a:solidFill>
            <a:srgbClr val="A4C0E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Förderangebote</a:t>
            </a:r>
          </a:p>
          <a:p>
            <a:pPr algn="ctr"/>
            <a:r>
              <a:rPr lang="de-DE" sz="2000" dirty="0">
                <a:solidFill>
                  <a:schemeClr val="tx1"/>
                </a:solidFill>
              </a:rPr>
              <a:t>(Projekt-/ Vertiefungskurse)</a:t>
            </a:r>
          </a:p>
        </p:txBody>
      </p:sp>
      <p:sp>
        <p:nvSpPr>
          <p:cNvPr id="13" name="Oval 5">
            <a:extLst>
              <a:ext uri="{FF2B5EF4-FFF2-40B4-BE49-F238E27FC236}">
                <a16:creationId xmlns:a16="http://schemas.microsoft.com/office/drawing/2014/main" id="{CCE19EAF-80BE-4E04-A0BB-0C51A5123C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7313" y="3543305"/>
            <a:ext cx="4890229" cy="1184812"/>
          </a:xfrm>
          <a:prstGeom prst="rect">
            <a:avLst/>
          </a:prstGeom>
          <a:solidFill>
            <a:srgbClr val="A4C0E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</a:rPr>
              <a:t>Individuelle Gestaltung </a:t>
            </a:r>
          </a:p>
          <a:p>
            <a:pPr algn="ctr"/>
            <a:r>
              <a:rPr lang="de-DE" sz="2800" dirty="0">
                <a:solidFill>
                  <a:schemeClr val="tx1"/>
                </a:solidFill>
              </a:rPr>
              <a:t>der Schullaufbahn</a:t>
            </a:r>
          </a:p>
        </p:txBody>
      </p:sp>
      <p:sp>
        <p:nvSpPr>
          <p:cNvPr id="15" name="Oval 11">
            <a:extLst>
              <a:ext uri="{FF2B5EF4-FFF2-40B4-BE49-F238E27FC236}">
                <a16:creationId xmlns:a16="http://schemas.microsoft.com/office/drawing/2014/main" id="{F8C05BFA-5C98-4DF9-ABF9-B05BB862F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7314" y="4852392"/>
            <a:ext cx="1623370" cy="1008000"/>
          </a:xfrm>
          <a:prstGeom prst="rect">
            <a:avLst/>
          </a:prstGeom>
          <a:solidFill>
            <a:srgbClr val="A4C0E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Vielfältiges 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LK-Angebo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CE20F099-783B-4A82-9644-6CCDF956A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1628" y="2414237"/>
            <a:ext cx="2385914" cy="1008000"/>
          </a:xfrm>
          <a:prstGeom prst="rect">
            <a:avLst/>
          </a:prstGeom>
          <a:solidFill>
            <a:srgbClr val="A4C0E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000" dirty="0">
                <a:solidFill>
                  <a:schemeClr val="tx1"/>
                </a:solidFill>
              </a:rPr>
              <a:t>Kultur der Wert-schätzung</a:t>
            </a:r>
          </a:p>
        </p:txBody>
      </p:sp>
    </p:spTree>
    <p:extLst>
      <p:ext uri="{BB962C8B-B14F-4D97-AF65-F5344CB8AC3E}">
        <p14:creationId xmlns:p14="http://schemas.microsoft.com/office/powerpoint/2010/main" val="10158890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Projektkur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600" dirty="0"/>
              <a:t>Attraktive Kurse mit vom Lehrplan unabhängigen Themen,</a:t>
            </a:r>
            <a:br>
              <a:rPr lang="de-DE" sz="2600" dirty="0"/>
            </a:br>
            <a:r>
              <a:rPr lang="de-DE" sz="2600" dirty="0"/>
              <a:t>angelehnt an Interessen der </a:t>
            </a:r>
            <a:r>
              <a:rPr lang="de-DE" sz="2600" dirty="0" err="1"/>
              <a:t>Schüler:innen</a:t>
            </a:r>
            <a:endParaRPr lang="de-DE" sz="2600" dirty="0"/>
          </a:p>
          <a:p>
            <a:endParaRPr lang="de-DE" sz="2800" dirty="0"/>
          </a:p>
          <a:p>
            <a:r>
              <a:rPr lang="de-DE" sz="2600" dirty="0"/>
              <a:t>Berücksichtigt werden dabei sowohl </a:t>
            </a:r>
          </a:p>
          <a:p>
            <a:pPr lvl="1"/>
            <a:r>
              <a:rPr lang="de-DE" sz="2600" dirty="0"/>
              <a:t>mathematisch / naturwissenschaftlich,</a:t>
            </a:r>
          </a:p>
          <a:p>
            <a:pPr lvl="1"/>
            <a:r>
              <a:rPr lang="de-DE" sz="2600" dirty="0"/>
              <a:t>künstlerisch und/ oder</a:t>
            </a:r>
          </a:p>
          <a:p>
            <a:pPr lvl="1"/>
            <a:r>
              <a:rPr lang="de-DE" sz="2600" dirty="0"/>
              <a:t>sprachlich interessierte </a:t>
            </a:r>
            <a:r>
              <a:rPr lang="de-DE" sz="2600" dirty="0" err="1"/>
              <a:t>Schüler:innen</a:t>
            </a:r>
            <a:endParaRPr lang="de-DE" sz="2600" dirty="0"/>
          </a:p>
          <a:p>
            <a:pPr marL="220663" lvl="1" indent="0">
              <a:buNone/>
            </a:pPr>
            <a:br>
              <a:rPr lang="de-DE" sz="2000" dirty="0">
                <a:solidFill>
                  <a:srgbClr val="FF0000"/>
                </a:solidFill>
              </a:rPr>
            </a:br>
            <a:endParaRPr lang="de-DE" sz="2600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63EAD1-93AC-4970-9664-4899F47E4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13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AC84C62-73CA-42F0-8235-2502B16867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6737" y="2632973"/>
            <a:ext cx="2400594" cy="135033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1B18F28-2EE5-4587-8948-FFF35289D9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12" t="13592" r="5524" b="10939"/>
          <a:stretch/>
        </p:blipFill>
        <p:spPr>
          <a:xfrm>
            <a:off x="9555294" y="4625249"/>
            <a:ext cx="2299950" cy="147117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C79F146-013E-4C5A-8816-7B00E1685EA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609" y="4223004"/>
            <a:ext cx="1744847" cy="205518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4CE5820-B222-4874-89DC-E7F416DFDE6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314" y="2845239"/>
            <a:ext cx="2040768" cy="1377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8889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Vertiefungsfächer – Leitzi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6755" y="1991031"/>
            <a:ext cx="11518489" cy="4185931"/>
          </a:xfrm>
        </p:spPr>
        <p:txBody>
          <a:bodyPr>
            <a:normAutofit/>
          </a:bodyPr>
          <a:lstStyle/>
          <a:p>
            <a:pPr eaLnBrk="1" hangingPunct="1">
              <a:lnSpc>
                <a:spcPct val="150000"/>
              </a:lnSpc>
              <a:buNone/>
            </a:pPr>
            <a:r>
              <a:rPr lang="de-DE" sz="2800" dirty="0"/>
              <a:t>Weiterentwicklung und Sicherung erforderlicher </a:t>
            </a:r>
            <a:br>
              <a:rPr lang="de-DE" sz="2800" dirty="0"/>
            </a:br>
            <a:r>
              <a:rPr lang="de-DE" sz="2800" dirty="0"/>
              <a:t>Kompetenzen für einen erfolgreichen Durchgang </a:t>
            </a:r>
            <a:br>
              <a:rPr lang="de-DE" sz="2800" dirty="0"/>
            </a:br>
            <a:r>
              <a:rPr lang="de-DE" sz="2800" dirty="0"/>
              <a:t>durch die Qualifikationsphase in den Fächern </a:t>
            </a:r>
            <a:br>
              <a:rPr lang="de-DE" sz="2800" dirty="0"/>
            </a:br>
            <a:r>
              <a:rPr lang="de-DE" sz="2800" i="1" dirty="0"/>
              <a:t>Mathematik, Deutsch </a:t>
            </a:r>
            <a:r>
              <a:rPr lang="de-DE" sz="2800" dirty="0"/>
              <a:t>und</a:t>
            </a:r>
            <a:r>
              <a:rPr lang="de-DE" sz="2800" i="1" dirty="0"/>
              <a:t> Englisch.</a:t>
            </a:r>
            <a:br>
              <a:rPr lang="de-DE" sz="2800" i="1" dirty="0"/>
            </a:br>
            <a:endParaRPr lang="de-DE" sz="2800" i="1" dirty="0"/>
          </a:p>
          <a:p>
            <a:pPr eaLnBrk="1" hangingPunct="1">
              <a:lnSpc>
                <a:spcPct val="150000"/>
              </a:lnSpc>
              <a:buNone/>
            </a:pPr>
            <a:r>
              <a:rPr lang="de-DE" sz="2800" b="1" dirty="0">
                <a:sym typeface="Wingdings" panose="05000000000000000000" pitchFamily="2" charset="2"/>
              </a:rPr>
              <a:t>		 </a:t>
            </a:r>
            <a:r>
              <a:rPr lang="de-DE" sz="2800" b="1" dirty="0"/>
              <a:t>„perspektivische“ Förderung</a:t>
            </a:r>
            <a:endParaRPr lang="de-DE" sz="2800" dirty="0"/>
          </a:p>
          <a:p>
            <a:pPr eaLnBrk="1" hangingPunct="1">
              <a:lnSpc>
                <a:spcPct val="150000"/>
              </a:lnSpc>
              <a:buNone/>
            </a:pPr>
            <a:endParaRPr lang="de-DE" sz="2800" dirty="0">
              <a:solidFill>
                <a:srgbClr val="FFFF66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5C2515-B164-48CD-9D68-0A7A7F534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14</a:t>
            </a:fld>
            <a:endParaRPr lang="de-DE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DE70486F-C542-4E2B-99DB-2940B5FF07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 flipH="1">
            <a:off x="9870577" y="4375497"/>
            <a:ext cx="1800000" cy="1893414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B99A7DF-AE73-4D84-B4C9-129B1633621B}"/>
              </a:ext>
            </a:extLst>
          </p:cNvPr>
          <p:cNvSpPr txBox="1"/>
          <p:nvPr/>
        </p:nvSpPr>
        <p:spPr>
          <a:xfrm rot="16200000">
            <a:off x="10847977" y="5307810"/>
            <a:ext cx="16452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dirty="0">
                <a:solidFill>
                  <a:schemeClr val="bg1">
                    <a:lumMod val="65000"/>
                  </a:schemeClr>
                </a:solidFill>
              </a:rPr>
              <a:t>https://freepngimg.com/png/</a:t>
            </a:r>
            <a:br>
              <a:rPr lang="de-DE" sz="900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de-DE" sz="900" dirty="0">
                <a:solidFill>
                  <a:schemeClr val="bg1">
                    <a:lumMod val="65000"/>
                  </a:schemeClr>
                </a:solidFill>
              </a:rPr>
              <a:t>16788-target-png-file</a:t>
            </a:r>
          </a:p>
        </p:txBody>
      </p:sp>
    </p:spTree>
    <p:extLst>
      <p:ext uri="{BB962C8B-B14F-4D97-AF65-F5344CB8AC3E}">
        <p14:creationId xmlns:p14="http://schemas.microsoft.com/office/powerpoint/2010/main" val="25346524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Leistungskurse an der GE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3301519-66EA-4C44-BFAB-34F81E6F6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15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1EBA55A-AF29-4197-B7F0-5298E50FFCA8}"/>
              </a:ext>
            </a:extLst>
          </p:cNvPr>
          <p:cNvSpPr txBox="1"/>
          <p:nvPr/>
        </p:nvSpPr>
        <p:spPr>
          <a:xfrm>
            <a:off x="4629249" y="3133170"/>
            <a:ext cx="1595277" cy="576000"/>
          </a:xfrm>
          <a:prstGeom prst="rect">
            <a:avLst/>
          </a:prstGeom>
          <a:solidFill>
            <a:srgbClr val="CD0A1A">
              <a:alpha val="50196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Biologie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5773190-8D7C-40C5-BC4A-2E6140E4B840}"/>
              </a:ext>
            </a:extLst>
          </p:cNvPr>
          <p:cNvSpPr txBox="1"/>
          <p:nvPr/>
        </p:nvSpPr>
        <p:spPr>
          <a:xfrm>
            <a:off x="6378454" y="3118634"/>
            <a:ext cx="1576638" cy="576000"/>
          </a:xfrm>
          <a:prstGeom prst="rect">
            <a:avLst/>
          </a:prstGeom>
          <a:solidFill>
            <a:srgbClr val="CD0A1A">
              <a:alpha val="50196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Chemi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4158E7B-359D-489F-9D23-833528DD595B}"/>
              </a:ext>
            </a:extLst>
          </p:cNvPr>
          <p:cNvSpPr txBox="1"/>
          <p:nvPr/>
        </p:nvSpPr>
        <p:spPr>
          <a:xfrm>
            <a:off x="8109018" y="3118305"/>
            <a:ext cx="1044000" cy="576000"/>
          </a:xfrm>
          <a:prstGeom prst="rect">
            <a:avLst/>
          </a:prstGeom>
          <a:solidFill>
            <a:srgbClr val="CD0A1A">
              <a:alpha val="50196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Spor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93D5998-6D61-4FE0-9BCC-2CBD890FACC3}"/>
              </a:ext>
            </a:extLst>
          </p:cNvPr>
          <p:cNvSpPr txBox="1"/>
          <p:nvPr/>
        </p:nvSpPr>
        <p:spPr>
          <a:xfrm>
            <a:off x="9306945" y="3133170"/>
            <a:ext cx="1289580" cy="576000"/>
          </a:xfrm>
          <a:prstGeom prst="rect">
            <a:avLst/>
          </a:prstGeom>
          <a:solidFill>
            <a:srgbClr val="CD0A1A">
              <a:alpha val="50196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Kunst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D95ECCD7-6C02-458B-A501-1AA961604085}"/>
              </a:ext>
            </a:extLst>
          </p:cNvPr>
          <p:cNvSpPr txBox="1"/>
          <p:nvPr/>
        </p:nvSpPr>
        <p:spPr>
          <a:xfrm>
            <a:off x="4629249" y="2426262"/>
            <a:ext cx="1855507" cy="576000"/>
          </a:xfrm>
          <a:prstGeom prst="rect">
            <a:avLst/>
          </a:prstGeom>
          <a:solidFill>
            <a:srgbClr val="E6000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Deutsch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11F74B9-8FDC-4D06-B165-2BB607394857}"/>
              </a:ext>
            </a:extLst>
          </p:cNvPr>
          <p:cNvSpPr txBox="1"/>
          <p:nvPr/>
        </p:nvSpPr>
        <p:spPr>
          <a:xfrm>
            <a:off x="6638683" y="2426262"/>
            <a:ext cx="2052000" cy="576000"/>
          </a:xfrm>
          <a:prstGeom prst="rect">
            <a:avLst/>
          </a:prstGeom>
          <a:solidFill>
            <a:srgbClr val="E6000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Mathematik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63A3BCB-CD43-4E41-B7D2-39F4AD009F09}"/>
              </a:ext>
            </a:extLst>
          </p:cNvPr>
          <p:cNvSpPr txBox="1"/>
          <p:nvPr/>
        </p:nvSpPr>
        <p:spPr>
          <a:xfrm>
            <a:off x="8844610" y="2426262"/>
            <a:ext cx="1728000" cy="576000"/>
          </a:xfrm>
          <a:prstGeom prst="rect">
            <a:avLst/>
          </a:prstGeom>
          <a:solidFill>
            <a:srgbClr val="E6000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Englisch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A86884BC-6959-4219-8B3F-4EF3EEC9010F}"/>
              </a:ext>
            </a:extLst>
          </p:cNvPr>
          <p:cNvSpPr txBox="1"/>
          <p:nvPr/>
        </p:nvSpPr>
        <p:spPr>
          <a:xfrm>
            <a:off x="4629249" y="5129485"/>
            <a:ext cx="2052000" cy="576000"/>
          </a:xfrm>
          <a:prstGeom prst="rect">
            <a:avLst/>
          </a:prstGeom>
          <a:solidFill>
            <a:srgbClr val="CD0A1A">
              <a:alpha val="50196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Pädagogik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6F902FE-2F73-4FCA-B1E7-24780E53A89D}"/>
              </a:ext>
            </a:extLst>
          </p:cNvPr>
          <p:cNvSpPr txBox="1"/>
          <p:nvPr/>
        </p:nvSpPr>
        <p:spPr>
          <a:xfrm>
            <a:off x="6835176" y="5129485"/>
            <a:ext cx="1728000" cy="576000"/>
          </a:xfrm>
          <a:prstGeom prst="rect">
            <a:avLst/>
          </a:prstGeom>
          <a:solidFill>
            <a:srgbClr val="CD0A1A">
              <a:alpha val="50196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Erdkund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DF1CA9D2-F80B-4525-8A06-13412491E6F6}"/>
              </a:ext>
            </a:extLst>
          </p:cNvPr>
          <p:cNvSpPr txBox="1"/>
          <p:nvPr/>
        </p:nvSpPr>
        <p:spPr>
          <a:xfrm>
            <a:off x="8717104" y="5129485"/>
            <a:ext cx="1855506" cy="576000"/>
          </a:xfrm>
          <a:prstGeom prst="rect">
            <a:avLst/>
          </a:prstGeom>
          <a:solidFill>
            <a:srgbClr val="CD0A1A">
              <a:alpha val="50196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Geschichte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9F1D402-99C2-409C-9092-146FE86DB538}"/>
              </a:ext>
            </a:extLst>
          </p:cNvPr>
          <p:cNvSpPr txBox="1"/>
          <p:nvPr/>
        </p:nvSpPr>
        <p:spPr>
          <a:xfrm>
            <a:off x="4629249" y="4422577"/>
            <a:ext cx="1855507" cy="576000"/>
          </a:xfrm>
          <a:prstGeom prst="rect">
            <a:avLst/>
          </a:prstGeom>
          <a:solidFill>
            <a:srgbClr val="E6000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Deutsch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BA978737-B48F-45DF-B6AE-2684DC167947}"/>
              </a:ext>
            </a:extLst>
          </p:cNvPr>
          <p:cNvSpPr txBox="1"/>
          <p:nvPr/>
        </p:nvSpPr>
        <p:spPr>
          <a:xfrm>
            <a:off x="6638683" y="4422577"/>
            <a:ext cx="2052000" cy="576000"/>
          </a:xfrm>
          <a:prstGeom prst="rect">
            <a:avLst/>
          </a:prstGeom>
          <a:solidFill>
            <a:srgbClr val="E6000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Mathematik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4DB64C28-86BE-40C5-9989-B84BF6FAEA68}"/>
              </a:ext>
            </a:extLst>
          </p:cNvPr>
          <p:cNvSpPr txBox="1"/>
          <p:nvPr/>
        </p:nvSpPr>
        <p:spPr>
          <a:xfrm>
            <a:off x="8844610" y="4422577"/>
            <a:ext cx="1728000" cy="576000"/>
          </a:xfrm>
          <a:prstGeom prst="rect">
            <a:avLst/>
          </a:prstGeom>
          <a:solidFill>
            <a:srgbClr val="E60002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>
                <a:solidFill>
                  <a:schemeClr val="bg1"/>
                </a:solidFill>
              </a:rPr>
              <a:t>Englisch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7CD934E5-7EDE-4C3E-9C60-B32715891619}"/>
              </a:ext>
            </a:extLst>
          </p:cNvPr>
          <p:cNvSpPr txBox="1"/>
          <p:nvPr/>
        </p:nvSpPr>
        <p:spPr>
          <a:xfrm>
            <a:off x="1554432" y="2441127"/>
            <a:ext cx="2920889" cy="1268043"/>
          </a:xfrm>
          <a:prstGeom prst="rect">
            <a:avLst/>
          </a:prstGeom>
          <a:solidFill>
            <a:srgbClr val="A4C0E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1. Schiene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FFC5654-3B29-4B71-A2C5-13636BE6566A}"/>
              </a:ext>
            </a:extLst>
          </p:cNvPr>
          <p:cNvSpPr txBox="1"/>
          <p:nvPr/>
        </p:nvSpPr>
        <p:spPr>
          <a:xfrm>
            <a:off x="1554431" y="4437442"/>
            <a:ext cx="2920889" cy="1268043"/>
          </a:xfrm>
          <a:prstGeom prst="rect">
            <a:avLst/>
          </a:prstGeom>
          <a:solidFill>
            <a:srgbClr val="A4C0E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800" dirty="0"/>
              <a:t>2. Schiene</a:t>
            </a:r>
          </a:p>
        </p:txBody>
      </p:sp>
    </p:spTree>
    <p:extLst>
      <p:ext uri="{BB962C8B-B14F-4D97-AF65-F5344CB8AC3E}">
        <p14:creationId xmlns:p14="http://schemas.microsoft.com/office/powerpoint/2010/main" val="1733560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3" grpId="0" animBg="1"/>
      <p:bldP spid="24" grpId="0" animBg="1"/>
      <p:bldP spid="25" grpId="0" animBg="1"/>
      <p:bldP spid="30" grpId="0" animBg="1"/>
      <p:bldP spid="31" grpId="0" animBg="1"/>
      <p:bldP spid="32" grpId="0" animBg="1"/>
      <p:bldP spid="41" grpId="0" animBg="1"/>
      <p:bldP spid="42" grpId="0" animBg="1"/>
      <p:bldP spid="43" grpId="0" animBg="1"/>
      <p:bldP spid="45" grpId="0" animBg="1"/>
      <p:bldP spid="46" grpId="0" animBg="1"/>
      <p:bldP spid="47" grpId="0" animBg="1"/>
      <p:bldP spid="48" grpId="0" animBg="1"/>
      <p:bldP spid="4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de-DE" dirty="0"/>
              <a:t>Vorgezogene Leistungskurswahl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F28DB0F-6844-40D9-BB09-501B9D156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16</a:t>
            </a:fld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66C4CD6-DE3A-446B-A647-3A796026D38A}"/>
              </a:ext>
            </a:extLst>
          </p:cNvPr>
          <p:cNvSpPr/>
          <p:nvPr/>
        </p:nvSpPr>
        <p:spPr>
          <a:xfrm>
            <a:off x="4164979" y="2150045"/>
            <a:ext cx="5760000" cy="864000"/>
          </a:xfrm>
          <a:prstGeom prst="rect">
            <a:avLst/>
          </a:prstGeom>
          <a:solidFill>
            <a:srgbClr val="A4C0E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000" kern="1200" dirty="0">
                <a:solidFill>
                  <a:schemeClr val="tx1"/>
                </a:solidFill>
              </a:rPr>
              <a:t>Konstante Lerngruppen in den </a:t>
            </a:r>
            <a:br>
              <a:rPr lang="de-DE" sz="2000" kern="1200" dirty="0">
                <a:solidFill>
                  <a:schemeClr val="tx1"/>
                </a:solidFill>
              </a:rPr>
            </a:br>
            <a:r>
              <a:rPr lang="de-DE" sz="2000" kern="1200" dirty="0">
                <a:solidFill>
                  <a:schemeClr val="tx1"/>
                </a:solidFill>
              </a:rPr>
              <a:t>Leistungskursen ab der Jahrgangsstufe EF</a:t>
            </a:r>
          </a:p>
        </p:txBody>
      </p:sp>
      <p:sp>
        <p:nvSpPr>
          <p:cNvPr id="16" name="Ellipse 15" descr="Kundenbewertung mit einfarbiger Füllung">
            <a:extLst>
              <a:ext uri="{FF2B5EF4-FFF2-40B4-BE49-F238E27FC236}">
                <a16:creationId xmlns:a16="http://schemas.microsoft.com/office/drawing/2014/main" id="{5D1D9CB0-8324-4106-A424-91CA4AFD1227}"/>
              </a:ext>
            </a:extLst>
          </p:cNvPr>
          <p:cNvSpPr/>
          <p:nvPr/>
        </p:nvSpPr>
        <p:spPr>
          <a:xfrm>
            <a:off x="2668618" y="1991350"/>
            <a:ext cx="1181390" cy="118139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B3B5B3F-878D-46CA-8F56-2C5FB5E67309}"/>
              </a:ext>
            </a:extLst>
          </p:cNvPr>
          <p:cNvSpPr/>
          <p:nvPr/>
        </p:nvSpPr>
        <p:spPr>
          <a:xfrm>
            <a:off x="4164979" y="3651996"/>
            <a:ext cx="5760000" cy="864000"/>
          </a:xfrm>
          <a:prstGeom prst="rect">
            <a:avLst/>
          </a:prstGeom>
          <a:solidFill>
            <a:srgbClr val="A4C0E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000" kern="1200" dirty="0">
                <a:solidFill>
                  <a:schemeClr val="tx1"/>
                </a:solidFill>
              </a:rPr>
              <a:t>Konstanz des Fachlehrers </a:t>
            </a:r>
            <a:br>
              <a:rPr lang="de-DE" sz="2000" kern="1200" dirty="0">
                <a:solidFill>
                  <a:schemeClr val="tx1"/>
                </a:solidFill>
              </a:rPr>
            </a:br>
            <a:r>
              <a:rPr lang="de-DE" sz="2000" kern="1200" dirty="0">
                <a:solidFill>
                  <a:schemeClr val="tx1"/>
                </a:solidFill>
              </a:rPr>
              <a:t>im Leistungskurs</a:t>
            </a:r>
          </a:p>
        </p:txBody>
      </p:sp>
      <p:sp>
        <p:nvSpPr>
          <p:cNvPr id="18" name="Ellipse 17" descr="Klassenzimmer mit einfarbiger Füllung">
            <a:extLst>
              <a:ext uri="{FF2B5EF4-FFF2-40B4-BE49-F238E27FC236}">
                <a16:creationId xmlns:a16="http://schemas.microsoft.com/office/drawing/2014/main" id="{14B74FF7-0D61-447A-8C85-2793FEC52052}"/>
              </a:ext>
            </a:extLst>
          </p:cNvPr>
          <p:cNvSpPr/>
          <p:nvPr/>
        </p:nvSpPr>
        <p:spPr>
          <a:xfrm>
            <a:off x="2668618" y="3493147"/>
            <a:ext cx="1181390" cy="1181390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32E46D6-2CF6-424C-AFDF-34FF9B08A120}"/>
              </a:ext>
            </a:extLst>
          </p:cNvPr>
          <p:cNvSpPr/>
          <p:nvPr/>
        </p:nvSpPr>
        <p:spPr>
          <a:xfrm>
            <a:off x="4164979" y="5153639"/>
            <a:ext cx="5760000" cy="864000"/>
          </a:xfrm>
          <a:prstGeom prst="rect">
            <a:avLst/>
          </a:prstGeom>
          <a:solidFill>
            <a:srgbClr val="A4C0E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DE" sz="2000" kern="1200" dirty="0">
                <a:solidFill>
                  <a:schemeClr val="tx1"/>
                </a:solidFill>
              </a:rPr>
              <a:t>Einjährige Erprobungsphase </a:t>
            </a:r>
            <a:br>
              <a:rPr lang="de-DE" sz="2000" kern="1200" dirty="0">
                <a:solidFill>
                  <a:schemeClr val="tx1"/>
                </a:solidFill>
              </a:rPr>
            </a:br>
            <a:r>
              <a:rPr lang="de-DE" sz="2000" kern="1200" dirty="0">
                <a:solidFill>
                  <a:schemeClr val="tx1"/>
                </a:solidFill>
              </a:rPr>
              <a:t>der Leistungskurswahl</a:t>
            </a:r>
          </a:p>
        </p:txBody>
      </p:sp>
      <p:sp>
        <p:nvSpPr>
          <p:cNvPr id="20" name="Rechteck 19" descr="Gedanken mit einfarbiger Füllung">
            <a:extLst>
              <a:ext uri="{FF2B5EF4-FFF2-40B4-BE49-F238E27FC236}">
                <a16:creationId xmlns:a16="http://schemas.microsoft.com/office/drawing/2014/main" id="{D218EC97-F6BA-4A5D-A39B-057A056E95AD}"/>
              </a:ext>
            </a:extLst>
          </p:cNvPr>
          <p:cNvSpPr/>
          <p:nvPr/>
        </p:nvSpPr>
        <p:spPr>
          <a:xfrm>
            <a:off x="2668618" y="4994944"/>
            <a:ext cx="1181390" cy="1181390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1205751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farbig enthält.&#10;&#10;Automatisch generierte Beschreibung">
            <a:extLst>
              <a:ext uri="{FF2B5EF4-FFF2-40B4-BE49-F238E27FC236}">
                <a16:creationId xmlns:a16="http://schemas.microsoft.com/office/drawing/2014/main" id="{6D7A16B7-7576-40F2-AD21-20433BC0A8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4084" r="29280"/>
          <a:stretch/>
        </p:blipFill>
        <p:spPr>
          <a:xfrm>
            <a:off x="7391399" y="-5903"/>
            <a:ext cx="4800601" cy="6863381"/>
          </a:xfrm>
          <a:prstGeom prst="rect">
            <a:avLst/>
          </a:prstGeom>
        </p:spPr>
      </p:pic>
      <p:sp>
        <p:nvSpPr>
          <p:cNvPr id="17101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Jahrgangsstufenfahrten</a:t>
            </a:r>
          </a:p>
        </p:txBody>
      </p:sp>
      <p:sp>
        <p:nvSpPr>
          <p:cNvPr id="17101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Clr>
                <a:schemeClr val="tx1"/>
              </a:buClr>
            </a:pPr>
            <a:endParaRPr lang="de-DE" dirty="0"/>
          </a:p>
          <a:p>
            <a:pPr eaLnBrk="1" hangingPunct="1">
              <a:buClr>
                <a:schemeClr val="tx1"/>
              </a:buClr>
            </a:pPr>
            <a:r>
              <a:rPr lang="de-DE" b="1" dirty="0"/>
              <a:t>Kennenlernfahrt</a:t>
            </a:r>
            <a:br>
              <a:rPr lang="de-DE" b="1" dirty="0"/>
            </a:br>
            <a:r>
              <a:rPr lang="de-DE" dirty="0"/>
              <a:t>zu Beginn der Jahrgangsstufe EF</a:t>
            </a:r>
          </a:p>
          <a:p>
            <a:pPr eaLnBrk="1" hangingPunct="1">
              <a:buFont typeface="Wingdings" pitchFamily="2" charset="2"/>
              <a:buNone/>
            </a:pPr>
            <a:endParaRPr lang="de-DE" sz="1800" b="1" dirty="0">
              <a:solidFill>
                <a:srgbClr val="FFFF00"/>
              </a:solidFill>
            </a:endParaRPr>
          </a:p>
          <a:p>
            <a:pPr eaLnBrk="1" hangingPunct="1">
              <a:buFont typeface="Wingdings" pitchFamily="2" charset="2"/>
              <a:buNone/>
            </a:pPr>
            <a:endParaRPr lang="de-DE" sz="1800" b="1" dirty="0">
              <a:solidFill>
                <a:srgbClr val="FFFF00"/>
              </a:solidFill>
            </a:endParaRPr>
          </a:p>
          <a:p>
            <a:pPr eaLnBrk="1" hangingPunct="1">
              <a:buClr>
                <a:schemeClr val="tx1"/>
              </a:buClr>
            </a:pPr>
            <a:r>
              <a:rPr lang="de-DE" b="1" dirty="0"/>
              <a:t>Abschlussfahrt</a:t>
            </a:r>
            <a:br>
              <a:rPr lang="de-DE" b="1" dirty="0"/>
            </a:br>
            <a:r>
              <a:rPr lang="de-DE" dirty="0"/>
              <a:t>zu Beginn der Jahrgangsstufe Q2 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CAE04CC-7A5C-408E-914C-130E90E9E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62224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5DD4F-809E-418D-89FD-34F067D04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kisport-Fahr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063A025-1B3B-486A-BE03-27F56A2EFF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inmal pro Jahr habt ihr die Möglichkeit, an dieser Angebotsfahrt „Ski und Snowboard“ teilzunehmen. Für Anfänger und Profis geeignet!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EEED83A-A0C0-417A-BBC0-46AD05F94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E5D9C1-7B31-4BB3-98E5-381646DA505F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9790AD5-0B08-4691-92F7-7E5A4AA5BA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904242">
            <a:off x="708732" y="3151127"/>
            <a:ext cx="2857500" cy="28575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3BEAFF3-E7E7-4150-B879-28D83B536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8028" y="2893097"/>
            <a:ext cx="3731630" cy="220166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E831FF7-0682-4259-90F8-FCDBDCB495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67713">
            <a:off x="8160514" y="3614024"/>
            <a:ext cx="2857500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0512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Kos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FBD6F56-AA57-4BBF-A4F4-B28D7A3A0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19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84F2E04-FF69-466D-9539-62DA5A2CDD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96135" y="2319866"/>
            <a:ext cx="3241333" cy="3217333"/>
          </a:xfrm>
          <a:prstGeom prst="rect">
            <a:avLst/>
          </a:prstGeom>
        </p:spPr>
      </p:pic>
      <p:sp>
        <p:nvSpPr>
          <p:cNvPr id="172035" name="Rectangle 3"/>
          <p:cNvSpPr>
            <a:spLocks noGrp="1" noChangeArrowheads="1"/>
          </p:cNvSpPr>
          <p:nvPr>
            <p:ph idx="1"/>
          </p:nvPr>
        </p:nvSpPr>
        <p:spPr>
          <a:xfrm>
            <a:off x="3437468" y="2319866"/>
            <a:ext cx="8417778" cy="3659049"/>
          </a:xfrm>
        </p:spPr>
        <p:txBody>
          <a:bodyPr>
            <a:normAutofit/>
          </a:bodyPr>
          <a:lstStyle/>
          <a:p>
            <a:pPr eaLnBrk="1" hangingPunct="1">
              <a:lnSpc>
                <a:spcPct val="100000"/>
              </a:lnSpc>
              <a:buClr>
                <a:schemeClr val="tx1"/>
              </a:buClr>
              <a:tabLst>
                <a:tab pos="6281738" algn="l"/>
                <a:tab pos="7535863" algn="r"/>
                <a:tab pos="7891463" algn="r"/>
              </a:tabLst>
            </a:pPr>
            <a:r>
              <a:rPr lang="de-DE" sz="2800" dirty="0"/>
              <a:t>Eigenanteil der Eltern für Schulbücher:		93	€</a:t>
            </a:r>
            <a:br>
              <a:rPr lang="de-DE" sz="2800" dirty="0"/>
            </a:br>
            <a:r>
              <a:rPr lang="de-DE" sz="2000" dirty="0"/>
              <a:t>(für die komplette Oberstufe)</a:t>
            </a:r>
          </a:p>
          <a:p>
            <a:pPr eaLnBrk="1" hangingPunct="1">
              <a:lnSpc>
                <a:spcPct val="150000"/>
              </a:lnSpc>
              <a:buClr>
                <a:schemeClr val="tx1"/>
              </a:buClr>
              <a:tabLst>
                <a:tab pos="6281738" algn="l"/>
                <a:tab pos="7535863" algn="r"/>
                <a:tab pos="7891463" algn="r"/>
              </a:tabLst>
            </a:pPr>
            <a:r>
              <a:rPr lang="de-DE" sz="2800" dirty="0"/>
              <a:t>Taschenrechner:	ca.	120	€</a:t>
            </a:r>
            <a:endParaRPr lang="de-DE" dirty="0"/>
          </a:p>
          <a:p>
            <a:pPr eaLnBrk="1" hangingPunct="1">
              <a:buFont typeface="Wingdings" pitchFamily="2" charset="2"/>
              <a:buNone/>
              <a:tabLst>
                <a:tab pos="6281738" algn="l"/>
                <a:tab pos="7535863" algn="r"/>
                <a:tab pos="7891463" algn="r"/>
              </a:tabLst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6885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Beratung und Betreuung</a:t>
            </a:r>
          </a:p>
        </p:txBody>
      </p:sp>
      <p:sp>
        <p:nvSpPr>
          <p:cNvPr id="169987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Clr>
                <a:schemeClr val="tx1"/>
              </a:buClr>
              <a:tabLst>
                <a:tab pos="357188" algn="l"/>
              </a:tabLst>
            </a:pPr>
            <a:r>
              <a:rPr lang="de-DE" sz="3600" b="1" dirty="0"/>
              <a:t>Beratungslehrer</a:t>
            </a:r>
            <a:br>
              <a:rPr lang="de-DE" sz="3600" b="1" dirty="0"/>
            </a:br>
            <a:r>
              <a:rPr lang="de-DE" sz="3200" dirty="0"/>
              <a:t>Herr Winkel &amp; Frau Schäfer</a:t>
            </a:r>
            <a:endParaRPr lang="de-DE" sz="1800" dirty="0"/>
          </a:p>
          <a:p>
            <a:pPr eaLnBrk="1" hangingPunct="1"/>
            <a:endParaRPr lang="de-DE" sz="3600" dirty="0"/>
          </a:p>
          <a:p>
            <a:pPr eaLnBrk="1" hangingPunct="1"/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D05DAAF-2650-4C5A-A934-CC2287919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2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44EC02B-F420-4289-9A62-D2D3685498DD}"/>
              </a:ext>
            </a:extLst>
          </p:cNvPr>
          <p:cNvSpPr txBox="1"/>
          <p:nvPr/>
        </p:nvSpPr>
        <p:spPr>
          <a:xfrm>
            <a:off x="6376999" y="1809117"/>
            <a:ext cx="424323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Oberstufenteam </a:t>
            </a:r>
            <a:br>
              <a:rPr lang="de-DE" sz="3600" b="1" dirty="0"/>
            </a:br>
            <a:r>
              <a:rPr lang="de-DE" sz="3600" b="1" dirty="0"/>
              <a:t>im S II-Büro</a:t>
            </a:r>
          </a:p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00DBA4B-4BAD-4A4F-9639-E117F9435F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3843" y="2919140"/>
            <a:ext cx="4759400" cy="383361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71B2D19-97E7-4A2B-96C3-E6D81D6FAE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9005" y="3025948"/>
            <a:ext cx="3067996" cy="3438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0823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D0041C8-FA72-42DC-A7D6-AC5A6F45B9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96" y="4648476"/>
            <a:ext cx="2232991" cy="1674744"/>
          </a:xfrm>
          <a:prstGeom prst="rect">
            <a:avLst/>
          </a:prstGeom>
        </p:spPr>
      </p:pic>
      <p:sp>
        <p:nvSpPr>
          <p:cNvPr id="1720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Wie geht‘s weiter?</a:t>
            </a:r>
          </a:p>
        </p:txBody>
      </p:sp>
      <p:sp>
        <p:nvSpPr>
          <p:cNvPr id="172035" name="Rectangle 3"/>
          <p:cNvSpPr>
            <a:spLocks noGrp="1" noChangeArrowheads="1"/>
          </p:cNvSpPr>
          <p:nvPr>
            <p:ph idx="1"/>
          </p:nvPr>
        </p:nvSpPr>
        <p:spPr>
          <a:xfrm>
            <a:off x="3472070" y="1991031"/>
            <a:ext cx="8383174" cy="4365319"/>
          </a:xfrm>
        </p:spPr>
        <p:txBody>
          <a:bodyPr>
            <a:normAutofit/>
          </a:bodyPr>
          <a:lstStyle/>
          <a:p>
            <a:pPr eaLnBrk="1" hangingPunct="1"/>
            <a:r>
              <a:rPr lang="de-DE" sz="3200" b="1" i="1" u="sng" dirty="0"/>
              <a:t>Tag der offenen Tür</a:t>
            </a:r>
          </a:p>
          <a:p>
            <a:pPr eaLnBrk="1" hangingPunct="1">
              <a:lnSpc>
                <a:spcPct val="110000"/>
              </a:lnSpc>
            </a:pPr>
            <a:r>
              <a:rPr lang="de-DE" sz="2800" dirty="0"/>
              <a:t>Dieses Tag</a:t>
            </a:r>
            <a:r>
              <a:rPr lang="de-DE" dirty="0"/>
              <a:t> wird am </a:t>
            </a:r>
            <a:r>
              <a:rPr lang="de-DE" b="1" dirty="0"/>
              <a:t>13.01.2024</a:t>
            </a:r>
            <a:r>
              <a:rPr lang="de-DE" dirty="0"/>
              <a:t> von 10-14 Uhr stattfinden. Dabei wird u.a. auch die Möglichkeit bestehen, in Unterricht der Sek II „reinzuschnuppern“.</a:t>
            </a:r>
            <a:br>
              <a:rPr lang="de-DE" sz="2800" dirty="0"/>
            </a:br>
            <a:endParaRPr lang="de-DE" sz="2800" dirty="0"/>
          </a:p>
          <a:p>
            <a:pPr eaLnBrk="1" hangingPunct="1"/>
            <a:r>
              <a:rPr lang="de-DE" sz="2800" b="1" i="1" dirty="0"/>
              <a:t>Bitte die aktuellen Hinweise auf der Homepage beachten!</a:t>
            </a:r>
          </a:p>
          <a:p>
            <a:pPr eaLnBrk="1" hangingPunct="1"/>
            <a:endParaRPr lang="de-DE" sz="3200" b="1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FBD6F56-AA57-4BBF-A4F4-B28D7A3A0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20</a:t>
            </a:fld>
            <a:endParaRPr lang="de-DE"/>
          </a:p>
        </p:txBody>
      </p:sp>
      <p:pic>
        <p:nvPicPr>
          <p:cNvPr id="13" name="Grafik 12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E3AC5DB7-E363-4D5E-A11D-110007BAB1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96" y="2010619"/>
            <a:ext cx="2238949" cy="144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91713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D0041C8-FA72-42DC-A7D6-AC5A6F45B9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96" y="4648476"/>
            <a:ext cx="2232991" cy="1674744"/>
          </a:xfrm>
          <a:prstGeom prst="rect">
            <a:avLst/>
          </a:prstGeom>
        </p:spPr>
      </p:pic>
      <p:sp>
        <p:nvSpPr>
          <p:cNvPr id="1720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Wie geht‘s weiter?</a:t>
            </a:r>
          </a:p>
        </p:txBody>
      </p:sp>
      <p:sp>
        <p:nvSpPr>
          <p:cNvPr id="172035" name="Rectangle 3"/>
          <p:cNvSpPr>
            <a:spLocks noGrp="1" noChangeArrowheads="1"/>
          </p:cNvSpPr>
          <p:nvPr>
            <p:ph idx="1"/>
          </p:nvPr>
        </p:nvSpPr>
        <p:spPr>
          <a:xfrm>
            <a:off x="3204377" y="1991031"/>
            <a:ext cx="8802094" cy="4365319"/>
          </a:xfrm>
        </p:spPr>
        <p:txBody>
          <a:bodyPr>
            <a:normAutofit/>
          </a:bodyPr>
          <a:lstStyle/>
          <a:p>
            <a:pPr algn="ctr" eaLnBrk="1" hangingPunct="1"/>
            <a:r>
              <a:rPr lang="de-DE" sz="3200" b="1" u="sng" dirty="0"/>
              <a:t>Anmeldewoche für externe </a:t>
            </a:r>
            <a:r>
              <a:rPr lang="de-DE" sz="3200" b="1" u="sng" dirty="0" err="1"/>
              <a:t>Schüler:innen</a:t>
            </a:r>
            <a:endParaRPr lang="de-DE" sz="3200" b="1" u="sng" dirty="0"/>
          </a:p>
          <a:p>
            <a:pPr algn="ctr" eaLnBrk="1" hangingPunct="1"/>
            <a:r>
              <a:rPr lang="de-DE" sz="2800" dirty="0">
                <a:highlight>
                  <a:srgbClr val="FF0000"/>
                </a:highlight>
              </a:rPr>
              <a:t>29.01.2024 bis 02.02.2024 (Mo bis Fr)</a:t>
            </a:r>
          </a:p>
          <a:p>
            <a:pPr eaLnBrk="1" hangingPunct="1"/>
            <a:r>
              <a:rPr lang="de-DE" sz="2600" dirty="0">
                <a:solidFill>
                  <a:srgbClr val="CB000E"/>
                </a:solidFill>
              </a:rPr>
              <a:t>nach vorheriger Terminvereinbarung auf der Homepage</a:t>
            </a:r>
          </a:p>
          <a:p>
            <a:pPr eaLnBrk="1" hangingPunct="1"/>
            <a:r>
              <a:rPr lang="de-DE" sz="2600" b="1" dirty="0"/>
              <a:t>Ausblick</a:t>
            </a:r>
            <a:r>
              <a:rPr lang="de-DE" sz="2600" dirty="0"/>
              <a:t>: 	LK Wahlen </a:t>
            </a:r>
            <a:r>
              <a:rPr lang="de-DE" sz="2600" b="1" dirty="0"/>
              <a:t>Februar 2024</a:t>
            </a:r>
          </a:p>
          <a:p>
            <a:pPr eaLnBrk="1" hangingPunct="1"/>
            <a:r>
              <a:rPr lang="de-DE" sz="2600" dirty="0"/>
              <a:t>		GK Wahlen </a:t>
            </a:r>
            <a:r>
              <a:rPr lang="de-DE" sz="2600" b="1" dirty="0"/>
              <a:t>vor den Osterferien</a:t>
            </a:r>
          </a:p>
          <a:p>
            <a:pPr eaLnBrk="1" hangingPunct="1"/>
            <a:r>
              <a:rPr lang="de-DE" sz="2600" i="1" dirty="0"/>
              <a:t>(zu den Wahlen werden die </a:t>
            </a:r>
            <a:r>
              <a:rPr lang="de-DE" sz="2600" i="1" dirty="0" err="1"/>
              <a:t>SuS</a:t>
            </a:r>
            <a:r>
              <a:rPr lang="de-DE" sz="2600" i="1" dirty="0"/>
              <a:t> mit der Schulplatzzusage eingeladen)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FBD6F56-AA57-4BBF-A4F4-B28D7A3A0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21</a:t>
            </a:fld>
            <a:endParaRPr lang="de-DE"/>
          </a:p>
        </p:txBody>
      </p:sp>
      <p:pic>
        <p:nvPicPr>
          <p:cNvPr id="13" name="Grafik 12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E3AC5DB7-E363-4D5E-A11D-110007BAB1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96" y="2010619"/>
            <a:ext cx="2238949" cy="144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8429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D0041C8-FA72-42DC-A7D6-AC5A6F45B9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96" y="4648476"/>
            <a:ext cx="2232991" cy="1674744"/>
          </a:xfrm>
          <a:prstGeom prst="rect">
            <a:avLst/>
          </a:prstGeom>
        </p:spPr>
      </p:pic>
      <p:sp>
        <p:nvSpPr>
          <p:cNvPr id="1720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Wie geht‘s weiter?</a:t>
            </a:r>
          </a:p>
        </p:txBody>
      </p:sp>
      <p:sp>
        <p:nvSpPr>
          <p:cNvPr id="172035" name="Rectangle 3"/>
          <p:cNvSpPr>
            <a:spLocks noGrp="1" noChangeArrowheads="1"/>
          </p:cNvSpPr>
          <p:nvPr>
            <p:ph idx="1"/>
          </p:nvPr>
        </p:nvSpPr>
        <p:spPr>
          <a:xfrm>
            <a:off x="3204377" y="1991031"/>
            <a:ext cx="8802094" cy="4365319"/>
          </a:xfrm>
        </p:spPr>
        <p:txBody>
          <a:bodyPr>
            <a:normAutofit/>
          </a:bodyPr>
          <a:lstStyle/>
          <a:p>
            <a:pPr algn="ctr" eaLnBrk="1" hangingPunct="1"/>
            <a:r>
              <a:rPr lang="de-DE" sz="3200" b="1" u="sng" dirty="0"/>
              <a:t>Anmeldung für interne </a:t>
            </a:r>
            <a:r>
              <a:rPr lang="de-DE" sz="3200" b="1" u="sng" dirty="0" err="1"/>
              <a:t>Schüler:innen</a:t>
            </a:r>
            <a:r>
              <a:rPr lang="de-DE" sz="3200" b="1" u="sng" dirty="0"/>
              <a:t> GEE</a:t>
            </a:r>
          </a:p>
          <a:p>
            <a:pPr algn="ctr" eaLnBrk="1" hangingPunct="1"/>
            <a:r>
              <a:rPr lang="de-DE" sz="2800" dirty="0">
                <a:highlight>
                  <a:srgbClr val="FF0000"/>
                </a:highlight>
              </a:rPr>
              <a:t>Mit dem </a:t>
            </a:r>
            <a:r>
              <a:rPr lang="de-DE" sz="2800" dirty="0" err="1">
                <a:highlight>
                  <a:srgbClr val="FF0000"/>
                </a:highlight>
              </a:rPr>
              <a:t>Hj</a:t>
            </a:r>
            <a:r>
              <a:rPr lang="de-DE" sz="2800" dirty="0">
                <a:highlight>
                  <a:srgbClr val="FF0000"/>
                </a:highlight>
              </a:rPr>
              <a:t>-Zeugnis erhaltet ihr von euren Klassenleitungen einen internen Anmeldezettel, den ihr ausgefüllt bei eurem KL </a:t>
            </a:r>
            <a:r>
              <a:rPr lang="de-DE" sz="2800">
                <a:highlight>
                  <a:srgbClr val="FF0000"/>
                </a:highlight>
              </a:rPr>
              <a:t>wieder abgebt.</a:t>
            </a:r>
            <a:endParaRPr lang="de-DE" sz="2600" dirty="0">
              <a:solidFill>
                <a:srgbClr val="CB000E"/>
              </a:solidFill>
            </a:endParaRPr>
          </a:p>
          <a:p>
            <a:pPr eaLnBrk="1" hangingPunct="1"/>
            <a:r>
              <a:rPr lang="de-DE" sz="2600" b="1" dirty="0"/>
              <a:t>Ausblick</a:t>
            </a:r>
            <a:r>
              <a:rPr lang="de-DE" sz="2600" dirty="0"/>
              <a:t>: 	LK Wahlen </a:t>
            </a:r>
            <a:r>
              <a:rPr lang="de-DE" sz="2600" b="1" dirty="0"/>
              <a:t>Februar 2024</a:t>
            </a:r>
          </a:p>
          <a:p>
            <a:pPr eaLnBrk="1" hangingPunct="1"/>
            <a:r>
              <a:rPr lang="de-DE" sz="2600" dirty="0"/>
              <a:t>		GK Wahlen </a:t>
            </a:r>
            <a:r>
              <a:rPr lang="de-DE" sz="2600" b="1" dirty="0"/>
              <a:t>vor den Osterferien</a:t>
            </a:r>
          </a:p>
          <a:p>
            <a:pPr eaLnBrk="1" hangingPunct="1"/>
            <a:r>
              <a:rPr lang="de-DE" sz="2600" i="1" dirty="0"/>
              <a:t>(zu den Wahlen werden die </a:t>
            </a:r>
            <a:r>
              <a:rPr lang="de-DE" sz="2600" i="1" dirty="0" err="1"/>
              <a:t>SuS</a:t>
            </a:r>
            <a:r>
              <a:rPr lang="de-DE" sz="2600" i="1" dirty="0"/>
              <a:t> mit der Schulplatzzusage eingeladen)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FBD6F56-AA57-4BBF-A4F4-B28D7A3A0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22</a:t>
            </a:fld>
            <a:endParaRPr lang="de-DE"/>
          </a:p>
        </p:txBody>
      </p:sp>
      <p:pic>
        <p:nvPicPr>
          <p:cNvPr id="13" name="Grafik 12" descr="Ein Bild, das Text, Schiefertafel enthält.&#10;&#10;Automatisch generierte Beschreibung">
            <a:extLst>
              <a:ext uri="{FF2B5EF4-FFF2-40B4-BE49-F238E27FC236}">
                <a16:creationId xmlns:a16="http://schemas.microsoft.com/office/drawing/2014/main" id="{E3AC5DB7-E363-4D5E-A11D-110007BAB1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96" y="2010619"/>
            <a:ext cx="2238949" cy="144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159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dirty="0"/>
              <a:t>Wie geht‘s weiter?</a:t>
            </a:r>
          </a:p>
        </p:txBody>
      </p:sp>
      <p:sp>
        <p:nvSpPr>
          <p:cNvPr id="172035" name="Rectangle 3"/>
          <p:cNvSpPr>
            <a:spLocks noGrp="1" noChangeArrowheads="1"/>
          </p:cNvSpPr>
          <p:nvPr>
            <p:ph idx="1"/>
          </p:nvPr>
        </p:nvSpPr>
        <p:spPr>
          <a:xfrm>
            <a:off x="3472070" y="1991031"/>
            <a:ext cx="8648212" cy="4365319"/>
          </a:xfrm>
        </p:spPr>
        <p:txBody>
          <a:bodyPr>
            <a:normAutofit fontScale="92500" lnSpcReduction="10000"/>
          </a:bodyPr>
          <a:lstStyle/>
          <a:p>
            <a:pPr eaLnBrk="1" hangingPunct="1"/>
            <a:r>
              <a:rPr lang="de-DE" sz="2800" b="1" dirty="0"/>
              <a:t>Informationen zu den neu-einsetzenden Fremdsprachen</a:t>
            </a:r>
          </a:p>
          <a:p>
            <a:pPr eaLnBrk="1" hangingPunct="1"/>
            <a:r>
              <a:rPr lang="de-DE" b="1" dirty="0"/>
              <a:t>Französisch, Spanisch</a:t>
            </a:r>
          </a:p>
          <a:p>
            <a:pPr eaLnBrk="1" hangingPunct="1"/>
            <a:endParaRPr lang="de-DE" sz="2800" dirty="0"/>
          </a:p>
          <a:p>
            <a:pPr eaLnBrk="1" hangingPunct="1"/>
            <a:r>
              <a:rPr lang="de-DE" dirty="0"/>
              <a:t>Die Übersicht über Inhalte und Wahlmöglichkeiten finden Sie auf der Homepage.</a:t>
            </a:r>
          </a:p>
          <a:p>
            <a:pPr eaLnBrk="1" hangingPunct="1"/>
            <a:endParaRPr lang="de-DE" sz="2800" dirty="0"/>
          </a:p>
          <a:p>
            <a:pPr eaLnBrk="1" hangingPunct="1"/>
            <a:r>
              <a:rPr lang="de-DE" b="1" i="1" dirty="0"/>
              <a:t>Für weitere Informationen stehen die Fachschaften zur Verfügung. Den Kontakt können wir gerne herstellen.</a:t>
            </a:r>
            <a:endParaRPr lang="de-DE" sz="2800" b="1" i="1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FBD6F56-AA57-4BBF-A4F4-B28D7A3A0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23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2DA09EE-3B4F-49F5-A669-1256B69238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699" y="2528195"/>
            <a:ext cx="2324588" cy="164549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BA65011-8B09-4F5B-A590-B58A07CDDC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333" y="4535133"/>
            <a:ext cx="2776257" cy="145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88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/>
              <a:t>So erreichen Sie uns!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9E7C94A-5B32-4AC8-87AF-B3358569E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t>24</a:t>
            </a:fld>
            <a:endParaRPr lang="de-DE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FD49FBA2-699F-4466-BABF-5AFE67DE69FE}"/>
              </a:ext>
            </a:extLst>
          </p:cNvPr>
          <p:cNvGrpSpPr/>
          <p:nvPr/>
        </p:nvGrpSpPr>
        <p:grpSpPr>
          <a:xfrm>
            <a:off x="2218563" y="2195015"/>
            <a:ext cx="7754874" cy="3777963"/>
            <a:chOff x="2218563" y="1991031"/>
            <a:chExt cx="7754874" cy="3777963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2F780ECF-EC20-4913-98B4-12FB36A4D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>
              <a:off x="2218563" y="1991031"/>
              <a:ext cx="986957" cy="986957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9A62E3DD-4311-40F6-99A0-8B6471A8B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5"/>
                </a:ext>
              </a:extLst>
            </a:blip>
            <a:stretch>
              <a:fillRect/>
            </a:stretch>
          </p:blipFill>
          <p:spPr>
            <a:xfrm>
              <a:off x="2218563" y="3386534"/>
              <a:ext cx="986957" cy="986957"/>
            </a:xfrm>
            <a:prstGeom prst="rect">
              <a:avLst/>
            </a:prstGeom>
          </p:spPr>
        </p:pic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41E1CC65-08D3-4967-AEA0-EACF2A889EA6}"/>
                </a:ext>
              </a:extLst>
            </p:cNvPr>
            <p:cNvGrpSpPr/>
            <p:nvPr/>
          </p:nvGrpSpPr>
          <p:grpSpPr>
            <a:xfrm>
              <a:off x="2218563" y="4782037"/>
              <a:ext cx="986957" cy="986957"/>
              <a:chOff x="336755" y="4770783"/>
              <a:chExt cx="986957" cy="986957"/>
            </a:xfrm>
          </p:grpSpPr>
          <p:sp>
            <p:nvSpPr>
              <p:cNvPr id="9" name="Ellipse 8">
                <a:extLst>
                  <a:ext uri="{FF2B5EF4-FFF2-40B4-BE49-F238E27FC236}">
                    <a16:creationId xmlns:a16="http://schemas.microsoft.com/office/drawing/2014/main" id="{FFF55E0E-4F44-4C8F-9268-8007AA75C137}"/>
                  </a:ext>
                </a:extLst>
              </p:cNvPr>
              <p:cNvSpPr/>
              <p:nvPr/>
            </p:nvSpPr>
            <p:spPr>
              <a:xfrm>
                <a:off x="336755" y="4770783"/>
                <a:ext cx="986957" cy="98695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571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02936F02-601E-4B55-B717-DFE8440200C4}"/>
                  </a:ext>
                </a:extLst>
              </p:cNvPr>
              <p:cNvSpPr txBox="1"/>
              <p:nvPr/>
            </p:nvSpPr>
            <p:spPr>
              <a:xfrm>
                <a:off x="336755" y="4770783"/>
                <a:ext cx="986957" cy="98695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de-DE" sz="2400" b="1" dirty="0" err="1"/>
                  <a:t>www</a:t>
                </a:r>
                <a:endParaRPr lang="de-DE" sz="2400" b="1" dirty="0"/>
              </a:p>
            </p:txBody>
          </p:sp>
        </p:grp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0D53FBEA-1177-4312-8EFC-CAF3765B0A2B}"/>
                </a:ext>
              </a:extLst>
            </p:cNvPr>
            <p:cNvSpPr txBox="1"/>
            <p:nvPr/>
          </p:nvSpPr>
          <p:spPr>
            <a:xfrm>
              <a:off x="3942520" y="1991031"/>
              <a:ext cx="6030917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 dirty="0"/>
                <a:t>+49 271 303148 – 0</a:t>
              </a:r>
            </a:p>
            <a:p>
              <a:r>
                <a:rPr lang="de-DE" sz="2800" dirty="0"/>
                <a:t>+49 271 303148 – 47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7EDB4BD2-D4CA-4681-94A5-11D4B473DC5A}"/>
                </a:ext>
              </a:extLst>
            </p:cNvPr>
            <p:cNvSpPr txBox="1"/>
            <p:nvPr/>
          </p:nvSpPr>
          <p:spPr>
            <a:xfrm>
              <a:off x="3942520" y="3618402"/>
              <a:ext cx="60309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 dirty="0"/>
                <a:t>wagn@gesamtschule-eiserfeld.de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09FC8633-C3E4-4EEC-92A8-6ED237ECC8E7}"/>
                </a:ext>
              </a:extLst>
            </p:cNvPr>
            <p:cNvSpPr txBox="1"/>
            <p:nvPr/>
          </p:nvSpPr>
          <p:spPr>
            <a:xfrm>
              <a:off x="3942520" y="5013905"/>
              <a:ext cx="603091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800" dirty="0"/>
                <a:t>www.gesamtschule-eiserfeld.de</a:t>
              </a:r>
            </a:p>
          </p:txBody>
        </p:sp>
      </p:grpSp>
      <p:sp>
        <p:nvSpPr>
          <p:cNvPr id="15" name="Textfeld 14">
            <a:extLst>
              <a:ext uri="{FF2B5EF4-FFF2-40B4-BE49-F238E27FC236}">
                <a16:creationId xmlns:a16="http://schemas.microsoft.com/office/drawing/2014/main" id="{4B4A314F-68FB-4588-BDDD-25726889A779}"/>
              </a:ext>
            </a:extLst>
          </p:cNvPr>
          <p:cNvSpPr txBox="1"/>
          <p:nvPr/>
        </p:nvSpPr>
        <p:spPr>
          <a:xfrm>
            <a:off x="3942519" y="4258527"/>
            <a:ext cx="6030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/>
              <a:t>schae@gesamtschule-eiserfeld.d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A545475-FAD8-4B13-B6D3-2EA81FCFD5BB}"/>
              </a:ext>
            </a:extLst>
          </p:cNvPr>
          <p:cNvSpPr txBox="1"/>
          <p:nvPr/>
        </p:nvSpPr>
        <p:spPr>
          <a:xfrm>
            <a:off x="3942519" y="4632704"/>
            <a:ext cx="6030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/>
              <a:t>wink@gesamtschule-eiserfeld.de</a:t>
            </a:r>
          </a:p>
        </p:txBody>
      </p:sp>
    </p:spTree>
    <p:extLst>
      <p:ext uri="{BB962C8B-B14F-4D97-AF65-F5344CB8AC3E}">
        <p14:creationId xmlns:p14="http://schemas.microsoft.com/office/powerpoint/2010/main" val="39678134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BDF6FD50-006B-4055-859C-5341EEE37D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3022" y="1986844"/>
            <a:ext cx="11531600" cy="2902567"/>
          </a:xfrm>
        </p:spPr>
        <p:txBody>
          <a:bodyPr anchor="ctr">
            <a:noAutofit/>
          </a:bodyPr>
          <a:lstStyle/>
          <a:p>
            <a:br>
              <a:rPr lang="de-DE" sz="2000" dirty="0"/>
            </a:br>
            <a:r>
              <a:rPr lang="de-DE" sz="4000" dirty="0"/>
              <a:t>Vielen Dank für </a:t>
            </a:r>
            <a:br>
              <a:rPr lang="de-DE" sz="4000" dirty="0"/>
            </a:br>
            <a:r>
              <a:rPr lang="de-DE" sz="4000"/>
              <a:t>Ihre/eure </a:t>
            </a:r>
            <a:r>
              <a:rPr lang="de-DE" sz="4000" dirty="0"/>
              <a:t>Aufmerksamkeit.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630238" lvl="2" indent="0" algn="ctr">
              <a:buNone/>
            </a:pPr>
            <a:endParaRPr lang="de-DE" sz="3600" dirty="0">
              <a:solidFill>
                <a:schemeClr val="bg1"/>
              </a:solidFill>
            </a:endParaRPr>
          </a:p>
          <a:p>
            <a:pPr marL="630238" lvl="2" indent="0" algn="ctr">
              <a:buNone/>
            </a:pPr>
            <a:r>
              <a:rPr lang="de-DE" sz="3600" dirty="0">
                <a:solidFill>
                  <a:schemeClr val="bg1"/>
                </a:solidFill>
              </a:rPr>
              <a:t>Für Fragen stehen wir Ihnen/ euch </a:t>
            </a:r>
            <a:br>
              <a:rPr lang="de-DE" sz="3600" dirty="0">
                <a:solidFill>
                  <a:schemeClr val="bg1"/>
                </a:solidFill>
              </a:rPr>
            </a:br>
            <a:r>
              <a:rPr lang="de-DE" sz="3600" dirty="0">
                <a:solidFill>
                  <a:schemeClr val="bg1"/>
                </a:solidFill>
              </a:rPr>
              <a:t>gerne zur Verfügung.</a:t>
            </a:r>
          </a:p>
        </p:txBody>
      </p:sp>
    </p:spTree>
    <p:extLst>
      <p:ext uri="{BB962C8B-B14F-4D97-AF65-F5344CB8AC3E}">
        <p14:creationId xmlns:p14="http://schemas.microsoft.com/office/powerpoint/2010/main" val="291732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760685D-C6A0-4599-9092-F74784851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samtschule Eiserfeld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7D98C1-B318-4F93-8A30-9951922CC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pPr/>
              <a:t>3</a:t>
            </a:fld>
            <a:endParaRPr lang="de-DE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4587DAF-A03A-43BE-8D42-77EA4283EC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75002779"/>
              </p:ext>
            </p:extLst>
          </p:nvPr>
        </p:nvGraphicFramePr>
        <p:xfrm>
          <a:off x="336550" y="1990725"/>
          <a:ext cx="11518900" cy="4186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2886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7279B5-5837-4A0D-A93E-3DABCE94A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6000" b="1" dirty="0"/>
              <a:t>Die gymnasiale </a:t>
            </a:r>
            <a:br>
              <a:rPr lang="de-DE" sz="6000" b="1" dirty="0"/>
            </a:br>
            <a:r>
              <a:rPr lang="de-DE" sz="6000" b="1" dirty="0"/>
              <a:t>Oberstufe in </a:t>
            </a:r>
            <a:r>
              <a:rPr lang="de-DE" b="1" dirty="0"/>
              <a:t>NRW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9D7C78-ADDF-49D6-9D12-3DCA5BD3BE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2393" y="4589463"/>
            <a:ext cx="11592849" cy="150018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5E0B3D7-4D7F-4E64-82F9-1850F0291B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43244" y="6356350"/>
            <a:ext cx="2572000" cy="365125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47B555-27B2-4162-A4D9-1F466F2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47132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/>
          </p:cNvSpPr>
          <p:nvPr>
            <p:ph type="title"/>
          </p:nvPr>
        </p:nvSpPr>
        <p:spPr bwMode="auto"/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90000"/>
            <a:scene3d>
              <a:camera prst="orthographicFront"/>
              <a:lightRig rig="soft" dir="t"/>
            </a:scene3d>
            <a:sp3d prstMaterial="softEdge"/>
          </a:bodyPr>
          <a:lstStyle/>
          <a:p>
            <a:pPr>
              <a:defRPr/>
            </a:pPr>
            <a:r>
              <a:rPr lang="de-DE" sz="4900" dirty="0">
                <a:effectLst/>
              </a:rPr>
              <a:t>Mögliche Abschlüsse </a:t>
            </a:r>
            <a:br>
              <a:rPr lang="de-DE" dirty="0">
                <a:effectLst/>
              </a:rPr>
            </a:br>
            <a:r>
              <a:rPr lang="de-DE" sz="3100" dirty="0">
                <a:effectLst/>
              </a:rPr>
              <a:t>in der gymnasialen Oberstufe</a:t>
            </a:r>
            <a:endParaRPr lang="de-DE" dirty="0">
              <a:effectLst/>
            </a:endParaRPr>
          </a:p>
        </p:txBody>
      </p:sp>
      <p:graphicFrame>
        <p:nvGraphicFramePr>
          <p:cNvPr id="5" name="Inhaltsplatzhalter 4">
            <a:extLst>
              <a:ext uri="{FF2B5EF4-FFF2-40B4-BE49-F238E27FC236}">
                <a16:creationId xmlns:a16="http://schemas.microsoft.com/office/drawing/2014/main" id="{66FBD3CC-C3C7-468D-B754-9926636AF9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08587678"/>
              </p:ext>
            </p:extLst>
          </p:nvPr>
        </p:nvGraphicFramePr>
        <p:xfrm>
          <a:off x="336550" y="1990725"/>
          <a:ext cx="11518900" cy="4186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5307" name="AutoShape 11"/>
          <p:cNvSpPr>
            <a:spLocks noChangeArrowheads="1"/>
          </p:cNvSpPr>
          <p:nvPr/>
        </p:nvSpPr>
        <p:spPr bwMode="auto">
          <a:xfrm>
            <a:off x="1203366" y="2487260"/>
            <a:ext cx="1008063" cy="1008000"/>
          </a:xfrm>
          <a:prstGeom prst="flowChartConnector">
            <a:avLst/>
          </a:prstGeom>
          <a:solidFill>
            <a:srgbClr val="E60002"/>
          </a:solidFill>
          <a:ln w="12700">
            <a:solidFill>
              <a:schemeClr val="bg1">
                <a:lumMod val="95000"/>
              </a:schemeClr>
            </a:solidFill>
            <a:round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latin typeface="Verdana" pitchFamily="34" charset="0"/>
              </a:rPr>
              <a:t>Nach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latin typeface="Verdana" pitchFamily="34" charset="0"/>
              </a:rPr>
              <a:t>Q1</a:t>
            </a:r>
          </a:p>
        </p:txBody>
      </p:sp>
      <p:sp>
        <p:nvSpPr>
          <p:cNvPr id="55308" name="AutoShape 12"/>
          <p:cNvSpPr>
            <a:spLocks noChangeArrowheads="1"/>
          </p:cNvSpPr>
          <p:nvPr/>
        </p:nvSpPr>
        <p:spPr bwMode="auto">
          <a:xfrm>
            <a:off x="1203365" y="4660320"/>
            <a:ext cx="1008063" cy="1008000"/>
          </a:xfrm>
          <a:prstGeom prst="flowChartConnector">
            <a:avLst/>
          </a:prstGeom>
          <a:solidFill>
            <a:srgbClr val="E60002"/>
          </a:solidFill>
          <a:ln w="12700">
            <a:solidFill>
              <a:schemeClr val="bg1">
                <a:lumMod val="95000"/>
              </a:schemeClr>
            </a:solidFill>
            <a:round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latin typeface="Verdana" pitchFamily="34" charset="0"/>
              </a:rPr>
              <a:t>Nach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latin typeface="Verdana" pitchFamily="34" charset="0"/>
              </a:rPr>
              <a:t>Q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92C8F3-F7D5-4C56-910A-E1B4BBD8A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5791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Der Weg zum Abitur</a:t>
            </a:r>
          </a:p>
        </p:txBody>
      </p:sp>
      <p:graphicFrame>
        <p:nvGraphicFramePr>
          <p:cNvPr id="8" name="Inhaltsplatzhalter 7">
            <a:extLst>
              <a:ext uri="{FF2B5EF4-FFF2-40B4-BE49-F238E27FC236}">
                <a16:creationId xmlns:a16="http://schemas.microsoft.com/office/drawing/2014/main" id="{3FA4B6A4-1D6F-4DDC-976E-2D45818B388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64132490"/>
              </p:ext>
            </p:extLst>
          </p:nvPr>
        </p:nvGraphicFramePr>
        <p:xfrm>
          <a:off x="336550" y="1990725"/>
          <a:ext cx="11518900" cy="4186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pPr>
              <a:defRPr/>
            </a:pPr>
            <a:fld id="{0606527C-9BD3-47C5-9EA7-31DC9313604D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06929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b="1" dirty="0"/>
              <a:t>Die Einführungsphase</a:t>
            </a:r>
            <a:br>
              <a:rPr lang="de-DE" dirty="0"/>
            </a:br>
            <a:r>
              <a:rPr lang="de-DE" sz="2200" dirty="0"/>
              <a:t>Jahrgangsstufe 11</a:t>
            </a:r>
            <a:endParaRPr lang="de-DE" dirty="0"/>
          </a:p>
        </p:txBody>
      </p:sp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F7C64B9B-1238-40D9-B58E-8067ED6523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35507635"/>
              </p:ext>
            </p:extLst>
          </p:nvPr>
        </p:nvGraphicFramePr>
        <p:xfrm>
          <a:off x="4097438" y="2493085"/>
          <a:ext cx="7908817" cy="32981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20C9807-B323-4B4C-8E20-C7E5A686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8" name="Oval 5"/>
          <p:cNvSpPr>
            <a:spLocks noChangeArrowheads="1"/>
          </p:cNvSpPr>
          <p:nvPr/>
        </p:nvSpPr>
        <p:spPr bwMode="auto">
          <a:xfrm>
            <a:off x="336756" y="3508527"/>
            <a:ext cx="2571750" cy="1150938"/>
          </a:xfrm>
          <a:prstGeom prst="rect">
            <a:avLst/>
          </a:prstGeom>
          <a:solidFill>
            <a:srgbClr val="E60002"/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400" b="1">
                <a:solidFill>
                  <a:schemeClr val="bg1"/>
                </a:solidFill>
              </a:rPr>
              <a:t>10 Kurs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CD86333-B28A-4CF0-BCBD-20706D0D98AA}"/>
              </a:ext>
            </a:extLst>
          </p:cNvPr>
          <p:cNvSpPr txBox="1"/>
          <p:nvPr/>
        </p:nvSpPr>
        <p:spPr>
          <a:xfrm>
            <a:off x="2908506" y="3508527"/>
            <a:ext cx="1188932" cy="11509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+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b="1" dirty="0"/>
              <a:t>Die Einführungsphase</a:t>
            </a:r>
            <a:br>
              <a:rPr lang="de-DE" dirty="0"/>
            </a:br>
            <a:r>
              <a:rPr lang="de-DE" sz="2200" dirty="0"/>
              <a:t>Jahrgangsstufe 1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D6158E9-D6AF-4482-8F08-774732282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DDFDD50-8756-4173-8FB0-CF7E682B84A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 belegende Grundkurs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6898C7C9-8BF5-4DA5-A041-D14CE78AEA0D}"/>
              </a:ext>
            </a:extLst>
          </p:cNvPr>
          <p:cNvSpPr txBox="1"/>
          <p:nvPr/>
        </p:nvSpPr>
        <p:spPr>
          <a:xfrm>
            <a:off x="4092068" y="3698049"/>
            <a:ext cx="2463800" cy="576000"/>
          </a:xfrm>
          <a:prstGeom prst="rect">
            <a:avLst/>
          </a:prstGeom>
          <a:solidFill>
            <a:srgbClr val="DAE3F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D</a:t>
            </a:r>
            <a:r>
              <a:rPr lang="de-DE" sz="3600" dirty="0"/>
              <a:t>eutsch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4F4D1A6-161F-43B2-9C49-511F7285CFE6}"/>
              </a:ext>
            </a:extLst>
          </p:cNvPr>
          <p:cNvSpPr txBox="1"/>
          <p:nvPr/>
        </p:nvSpPr>
        <p:spPr>
          <a:xfrm>
            <a:off x="663066" y="3698049"/>
            <a:ext cx="3282475" cy="576000"/>
          </a:xfrm>
          <a:prstGeom prst="rect">
            <a:avLst/>
          </a:prstGeom>
          <a:solidFill>
            <a:srgbClr val="FFAFB5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M</a:t>
            </a:r>
            <a:r>
              <a:rPr lang="de-DE" sz="3600" dirty="0"/>
              <a:t>athematik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C3C3D2F-F5B2-45EA-9BA8-C722E6CBC472}"/>
              </a:ext>
            </a:extLst>
          </p:cNvPr>
          <p:cNvSpPr txBox="1"/>
          <p:nvPr/>
        </p:nvSpPr>
        <p:spPr>
          <a:xfrm>
            <a:off x="2554616" y="4382308"/>
            <a:ext cx="2194278" cy="576000"/>
          </a:xfrm>
          <a:prstGeom prst="rect">
            <a:avLst/>
          </a:prstGeom>
          <a:solidFill>
            <a:srgbClr val="DAE3F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E</a:t>
            </a:r>
            <a:r>
              <a:rPr lang="de-DE" sz="3600" dirty="0"/>
              <a:t>nglisch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F6CAD17-EA6A-40C9-83E2-62FE6DD006BC}"/>
              </a:ext>
            </a:extLst>
          </p:cNvPr>
          <p:cNvSpPr txBox="1"/>
          <p:nvPr/>
        </p:nvSpPr>
        <p:spPr>
          <a:xfrm>
            <a:off x="6702394" y="3026498"/>
            <a:ext cx="2044017" cy="1253126"/>
          </a:xfrm>
          <a:prstGeom prst="rect">
            <a:avLst/>
          </a:prstGeom>
          <a:solidFill>
            <a:srgbClr val="DAE3F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Ku</a:t>
            </a:r>
            <a:r>
              <a:rPr lang="de-DE" sz="3600" dirty="0"/>
              <a:t>nst</a:t>
            </a:r>
          </a:p>
          <a:p>
            <a:pPr algn="ctr"/>
            <a:r>
              <a:rPr lang="de-DE" sz="3600" b="1" dirty="0"/>
              <a:t>Mu</a:t>
            </a:r>
            <a:r>
              <a:rPr lang="de-DE" sz="3600" dirty="0"/>
              <a:t>sik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8DEFF91-C59F-41F0-B7CE-A203B3D256A9}"/>
              </a:ext>
            </a:extLst>
          </p:cNvPr>
          <p:cNvSpPr txBox="1"/>
          <p:nvPr/>
        </p:nvSpPr>
        <p:spPr>
          <a:xfrm>
            <a:off x="5207170" y="3026498"/>
            <a:ext cx="1348698" cy="576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S</a:t>
            </a:r>
            <a:r>
              <a:rPr lang="de-DE" sz="3600" dirty="0"/>
              <a:t>port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EE4D8DA-74D7-4D57-BB19-920126BB6713}"/>
              </a:ext>
            </a:extLst>
          </p:cNvPr>
          <p:cNvSpPr txBox="1"/>
          <p:nvPr/>
        </p:nvSpPr>
        <p:spPr>
          <a:xfrm>
            <a:off x="663067" y="4385202"/>
            <a:ext cx="1760976" cy="124733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P</a:t>
            </a:r>
            <a:r>
              <a:rPr lang="de-DE" sz="3600" dirty="0"/>
              <a:t>hi</a:t>
            </a:r>
            <a:r>
              <a:rPr lang="de-DE" sz="3600" b="1" dirty="0"/>
              <a:t>l</a:t>
            </a:r>
            <a:r>
              <a:rPr lang="de-DE" sz="3600" dirty="0"/>
              <a:t>o</a:t>
            </a:r>
          </a:p>
          <a:p>
            <a:pPr algn="ctr"/>
            <a:r>
              <a:rPr lang="de-DE" sz="3600" b="1" dirty="0"/>
              <a:t>Re</a:t>
            </a:r>
            <a:r>
              <a:rPr lang="de-DE" sz="3600" dirty="0"/>
              <a:t>lig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75B35D25-8A01-4045-9DED-1A47EFE85D46}"/>
              </a:ext>
            </a:extLst>
          </p:cNvPr>
          <p:cNvSpPr txBox="1"/>
          <p:nvPr/>
        </p:nvSpPr>
        <p:spPr>
          <a:xfrm>
            <a:off x="2554616" y="5056538"/>
            <a:ext cx="6188628" cy="57600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G</a:t>
            </a:r>
            <a:r>
              <a:rPr lang="de-DE" sz="3600" dirty="0"/>
              <a:t>esellschafts</a:t>
            </a:r>
            <a:r>
              <a:rPr lang="de-DE" sz="3600" b="1" dirty="0"/>
              <a:t>w</a:t>
            </a:r>
            <a:r>
              <a:rPr lang="de-DE" sz="3600" dirty="0"/>
              <a:t>issenschaft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546C176-17CD-4B5A-A239-6C3FAC94C42C}"/>
              </a:ext>
            </a:extLst>
          </p:cNvPr>
          <p:cNvSpPr txBox="1"/>
          <p:nvPr/>
        </p:nvSpPr>
        <p:spPr>
          <a:xfrm>
            <a:off x="663067" y="3026498"/>
            <a:ext cx="4397576" cy="576001"/>
          </a:xfrm>
          <a:prstGeom prst="rect">
            <a:avLst/>
          </a:prstGeom>
          <a:solidFill>
            <a:srgbClr val="FFAFB5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N</a:t>
            </a:r>
            <a:r>
              <a:rPr lang="de-DE" sz="3600" dirty="0"/>
              <a:t>atur</a:t>
            </a:r>
            <a:r>
              <a:rPr lang="de-DE" sz="3600" b="1" dirty="0"/>
              <a:t>w</a:t>
            </a:r>
            <a:r>
              <a:rPr lang="de-DE" sz="3600" dirty="0"/>
              <a:t>issenschaften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0005DA3C-3225-4FCC-B9A3-269089A5BF7B}"/>
              </a:ext>
            </a:extLst>
          </p:cNvPr>
          <p:cNvSpPr txBox="1"/>
          <p:nvPr/>
        </p:nvSpPr>
        <p:spPr>
          <a:xfrm>
            <a:off x="4879467" y="4382308"/>
            <a:ext cx="3887658" cy="57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F</a:t>
            </a:r>
            <a:r>
              <a:rPr lang="de-DE" sz="3600" dirty="0"/>
              <a:t>remd</a:t>
            </a:r>
            <a:r>
              <a:rPr lang="de-DE" sz="3600" b="1" dirty="0"/>
              <a:t>s</a:t>
            </a:r>
            <a:r>
              <a:rPr lang="de-DE" sz="3600" dirty="0"/>
              <a:t>prache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E066936-D1A1-4051-B417-6B6FD025A428}"/>
              </a:ext>
            </a:extLst>
          </p:cNvPr>
          <p:cNvSpPr txBox="1"/>
          <p:nvPr/>
        </p:nvSpPr>
        <p:spPr>
          <a:xfrm>
            <a:off x="3263341" y="2492438"/>
            <a:ext cx="3887658" cy="444366"/>
          </a:xfrm>
          <a:prstGeom prst="rect">
            <a:avLst/>
          </a:prstGeom>
          <a:solidFill>
            <a:srgbClr val="FFAFB5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400" dirty="0"/>
              <a:t>Biologie, Chemie, Physik</a:t>
            </a:r>
          </a:p>
        </p:txBody>
      </p:sp>
      <p:cxnSp>
        <p:nvCxnSpPr>
          <p:cNvPr id="8" name="Verbinder: gewinkelt 7">
            <a:extLst>
              <a:ext uri="{FF2B5EF4-FFF2-40B4-BE49-F238E27FC236}">
                <a16:creationId xmlns:a16="http://schemas.microsoft.com/office/drawing/2014/main" id="{D8E283F8-4C2A-4692-B146-4E8450CE32A4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906661" y="2669817"/>
            <a:ext cx="311877" cy="401486"/>
          </a:xfrm>
          <a:prstGeom prst="bentConnector2">
            <a:avLst/>
          </a:prstGeom>
          <a:ln w="38100">
            <a:solidFill>
              <a:srgbClr val="FFAFB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343A1F6F-E60D-4372-A626-655B8A7DCBD6}"/>
              </a:ext>
            </a:extLst>
          </p:cNvPr>
          <p:cNvSpPr txBox="1"/>
          <p:nvPr/>
        </p:nvSpPr>
        <p:spPr>
          <a:xfrm>
            <a:off x="663066" y="5885952"/>
            <a:ext cx="7775316" cy="444366"/>
          </a:xfrm>
          <a:prstGeom prst="rect">
            <a:avLst/>
          </a:prstGeom>
          <a:solidFill>
            <a:srgbClr val="C5E0B4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2400" dirty="0"/>
              <a:t>Geschichte, Erdkunde, Pädagogik, Sozialwissenschaften</a:t>
            </a:r>
          </a:p>
        </p:txBody>
      </p:sp>
      <p:cxnSp>
        <p:nvCxnSpPr>
          <p:cNvPr id="33" name="Verbinder: gewinkelt 32">
            <a:extLst>
              <a:ext uri="{FF2B5EF4-FFF2-40B4-BE49-F238E27FC236}">
                <a16:creationId xmlns:a16="http://schemas.microsoft.com/office/drawing/2014/main" id="{88460EA3-AF89-44F1-9A5E-2A1116EB8F52}"/>
              </a:ext>
            </a:extLst>
          </p:cNvPr>
          <p:cNvCxnSpPr>
            <a:cxnSpLocks/>
            <a:stCxn id="24" idx="3"/>
            <a:endCxn id="32" idx="3"/>
          </p:cNvCxnSpPr>
          <p:nvPr/>
        </p:nvCxnSpPr>
        <p:spPr>
          <a:xfrm flipH="1">
            <a:off x="8438382" y="5344539"/>
            <a:ext cx="304862" cy="763596"/>
          </a:xfrm>
          <a:prstGeom prst="bentConnector3">
            <a:avLst>
              <a:gd name="adj1" fmla="val -74985"/>
            </a:avLst>
          </a:prstGeom>
          <a:ln w="38100">
            <a:solidFill>
              <a:srgbClr val="C5E0B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2A7D498B-7688-4B8B-922E-5C5273D7C0AD}"/>
              </a:ext>
            </a:extLst>
          </p:cNvPr>
          <p:cNvSpPr txBox="1"/>
          <p:nvPr/>
        </p:nvSpPr>
        <p:spPr>
          <a:xfrm>
            <a:off x="9637384" y="2812780"/>
            <a:ext cx="2364386" cy="2531759"/>
          </a:xfrm>
          <a:prstGeom prst="rect">
            <a:avLst/>
          </a:prstGeom>
          <a:solidFill>
            <a:srgbClr val="DAE3F3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355600"/>
            <a:r>
              <a:rPr lang="de-DE" sz="2400" dirty="0"/>
              <a:t>Französisch </a:t>
            </a:r>
            <a:br>
              <a:rPr lang="de-DE" sz="2400" dirty="0"/>
            </a:br>
            <a:r>
              <a:rPr lang="de-DE" dirty="0"/>
              <a:t>(JG 7, 9, EF)</a:t>
            </a:r>
            <a:endParaRPr lang="de-DE" sz="2400" dirty="0"/>
          </a:p>
          <a:p>
            <a:pPr marL="355600">
              <a:spcBef>
                <a:spcPts val="1800"/>
              </a:spcBef>
            </a:pPr>
            <a:r>
              <a:rPr lang="de-DE" sz="2400" dirty="0"/>
              <a:t>Spanisch</a:t>
            </a:r>
            <a:br>
              <a:rPr lang="de-DE" sz="2400" dirty="0"/>
            </a:br>
            <a:r>
              <a:rPr lang="de-DE" dirty="0"/>
              <a:t>(JG 7, 9, EF)</a:t>
            </a:r>
          </a:p>
        </p:txBody>
      </p:sp>
      <p:cxnSp>
        <p:nvCxnSpPr>
          <p:cNvPr id="41" name="Verbinder: gewinkelt 40">
            <a:extLst>
              <a:ext uri="{FF2B5EF4-FFF2-40B4-BE49-F238E27FC236}">
                <a16:creationId xmlns:a16="http://schemas.microsoft.com/office/drawing/2014/main" id="{4B67A5E1-E7CE-48A3-8B7C-AC015198B766}"/>
              </a:ext>
            </a:extLst>
          </p:cNvPr>
          <p:cNvCxnSpPr>
            <a:cxnSpLocks/>
            <a:stCxn id="26" idx="3"/>
            <a:endCxn id="40" idx="1"/>
          </p:cNvCxnSpPr>
          <p:nvPr/>
        </p:nvCxnSpPr>
        <p:spPr>
          <a:xfrm flipV="1">
            <a:off x="8767125" y="4078660"/>
            <a:ext cx="870259" cy="591648"/>
          </a:xfrm>
          <a:prstGeom prst="bentConnector3">
            <a:avLst>
              <a:gd name="adj1" fmla="val 50000"/>
            </a:avLst>
          </a:prstGeom>
          <a:ln w="38100">
            <a:solidFill>
              <a:srgbClr val="DAE3F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1278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8" grpId="0" animBg="1"/>
      <p:bldP spid="32" grpId="0" animBg="1"/>
      <p:bldP spid="4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b="1" dirty="0">
                <a:ea typeface="Cambria"/>
              </a:rPr>
              <a:t>Die </a:t>
            </a:r>
            <a:r>
              <a:rPr lang="de-DE" dirty="0">
                <a:ea typeface="Cambria"/>
              </a:rPr>
              <a:t>Qualifikationsphase</a:t>
            </a:r>
            <a:br>
              <a:rPr lang="de-DE" dirty="0"/>
            </a:br>
            <a:r>
              <a:rPr lang="de-DE" sz="2200" dirty="0">
                <a:ea typeface="Cambria"/>
              </a:rPr>
              <a:t>Jahrgangsstufen 12 und 13</a:t>
            </a:r>
            <a:endParaRPr lang="de-DE" dirty="0">
              <a:ea typeface="Cambria"/>
            </a:endParaRPr>
          </a:p>
        </p:txBody>
      </p:sp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F7C64B9B-1238-40D9-B58E-8067ED6523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291837"/>
              </p:ext>
            </p:extLst>
          </p:nvPr>
        </p:nvGraphicFramePr>
        <p:xfrm>
          <a:off x="3717406" y="1990724"/>
          <a:ext cx="7958127" cy="4186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20C9807-B323-4B4C-8E20-C7E5A686F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5244" y="6268911"/>
            <a:ext cx="540000" cy="540000"/>
          </a:xfrm>
        </p:spPr>
        <p:txBody>
          <a:bodyPr/>
          <a:lstStyle/>
          <a:p>
            <a:fld id="{70E5D9C1-7B31-4BB3-98E5-381646DA505F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8" name="Oval 5"/>
          <p:cNvSpPr>
            <a:spLocks noChangeArrowheads="1"/>
          </p:cNvSpPr>
          <p:nvPr/>
        </p:nvSpPr>
        <p:spPr bwMode="auto">
          <a:xfrm>
            <a:off x="336755" y="3508527"/>
            <a:ext cx="2880577" cy="1150938"/>
          </a:xfrm>
          <a:prstGeom prst="rect">
            <a:avLst/>
          </a:prstGeom>
          <a:solidFill>
            <a:srgbClr val="E60002"/>
          </a:solidFill>
          <a:ln>
            <a:noFill/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r>
              <a:rPr lang="de-DE" sz="2400" b="1" dirty="0">
                <a:solidFill>
                  <a:schemeClr val="bg1"/>
                </a:solidFill>
              </a:rPr>
              <a:t>2 Leistungskurse</a:t>
            </a:r>
          </a:p>
          <a:p>
            <a:r>
              <a:rPr lang="de-DE" sz="2400" b="1" dirty="0">
                <a:solidFill>
                  <a:schemeClr val="bg1"/>
                </a:solidFill>
              </a:rPr>
              <a:t>7 Grundkurs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CD86333-B28A-4CF0-BCBD-20706D0D98AA}"/>
              </a:ext>
            </a:extLst>
          </p:cNvPr>
          <p:cNvSpPr txBox="1"/>
          <p:nvPr/>
        </p:nvSpPr>
        <p:spPr>
          <a:xfrm>
            <a:off x="2908506" y="3508527"/>
            <a:ext cx="1188932" cy="11509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lang="de-DE" sz="3600" b="1" dirty="0"/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1418874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sv__qjePiD_bKtJ.sM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fLWur9MSeIcF4_RjDF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TdgurSmHlO19f8Pa82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TdgurSmHlO19f8Pa82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dKYmgRI42OoKPSzwO.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FFA Default (Arial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E" id="{6B36F5AF-C508-424E-8295-02CF8C68734F}" vid="{24892F30-14A4-4DDB-A267-75227FB7A98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 für den 1. Info-Abend__SJ_23_24_neu</Template>
  <TotalTime>0</TotalTime>
  <Words>997</Words>
  <Application>Microsoft Office PowerPoint</Application>
  <PresentationFormat>Breitbild</PresentationFormat>
  <Paragraphs>198</Paragraphs>
  <Slides>25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4" baseType="lpstr">
      <vt:lpstr>Arial</vt:lpstr>
      <vt:lpstr>Calibri</vt:lpstr>
      <vt:lpstr>Cambria</vt:lpstr>
      <vt:lpstr>Gill Sans MT</vt:lpstr>
      <vt:lpstr>Times New Roman</vt:lpstr>
      <vt:lpstr>Verdana</vt:lpstr>
      <vt:lpstr>Wingdings</vt:lpstr>
      <vt:lpstr>GEE</vt:lpstr>
      <vt:lpstr>think-cell Folie</vt:lpstr>
      <vt:lpstr>Willkommen zum  1. Informationsabend</vt:lpstr>
      <vt:lpstr>Beratung und Betreuung</vt:lpstr>
      <vt:lpstr>Gesamtschule Eiserfeld</vt:lpstr>
      <vt:lpstr>Die gymnasiale  Oberstufe in NRW</vt:lpstr>
      <vt:lpstr>Mögliche Abschlüsse  in der gymnasialen Oberstufe</vt:lpstr>
      <vt:lpstr>Der Weg zum Abitur</vt:lpstr>
      <vt:lpstr>Die Einführungsphase Jahrgangsstufe 11</vt:lpstr>
      <vt:lpstr>Die Einführungsphase Jahrgangsstufe 11</vt:lpstr>
      <vt:lpstr>Die Qualifikationsphase Jahrgangsstufen 12 und 13</vt:lpstr>
      <vt:lpstr>Das Abitur Die Abiturprüfung</vt:lpstr>
      <vt:lpstr>Zusammenfassung Informationen zur Oberstufe</vt:lpstr>
      <vt:lpstr>Warum die Gesamtschule Eiserfeld? </vt:lpstr>
      <vt:lpstr>Projektkurse</vt:lpstr>
      <vt:lpstr>Vertiefungsfächer – Leitziel</vt:lpstr>
      <vt:lpstr>Leistungskurse an der GEE</vt:lpstr>
      <vt:lpstr>Vorgezogene Leistungskurswahlen</vt:lpstr>
      <vt:lpstr>Jahrgangsstufenfahrten</vt:lpstr>
      <vt:lpstr>Skisport-Fahrten</vt:lpstr>
      <vt:lpstr>Kosten</vt:lpstr>
      <vt:lpstr>Wie geht‘s weiter?</vt:lpstr>
      <vt:lpstr>Wie geht‘s weiter?</vt:lpstr>
      <vt:lpstr>Wie geht‘s weiter?</vt:lpstr>
      <vt:lpstr>Wie geht‘s weiter?</vt:lpstr>
      <vt:lpstr>So erreichen Sie uns!</vt:lpstr>
      <vt:lpstr> Vielen Dank für  Ihre/eure Aufmerksamkeit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llkommen zum  1. Informationsabend</dc:title>
  <dc:creator>Andreas Winkel</dc:creator>
  <cp:lastModifiedBy>Wolfgang Wagner</cp:lastModifiedBy>
  <cp:revision>11</cp:revision>
  <dcterms:created xsi:type="dcterms:W3CDTF">2023-09-14T11:31:40Z</dcterms:created>
  <dcterms:modified xsi:type="dcterms:W3CDTF">2023-12-01T06:18:40Z</dcterms:modified>
</cp:coreProperties>
</file>